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9.xml" ContentType="application/vnd.openxmlformats-officedocument.theme+xml"/>
  <Override PartName="/ppt/tags/tag9.xml" ContentType="application/vnd.openxmlformats-officedocument.presentationml.tags+xml"/>
  <Override PartName="/ppt/theme/theme10.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 id="2147483679" r:id="rId3"/>
    <p:sldMasterId id="2147483689" r:id="rId4"/>
    <p:sldMasterId id="2147483698" r:id="rId5"/>
    <p:sldMasterId id="2147483721" r:id="rId6"/>
    <p:sldMasterId id="2147483727" r:id="rId7"/>
    <p:sldMasterId id="2147483737" r:id="rId8"/>
    <p:sldMasterId id="2147483747" r:id="rId9"/>
  </p:sldMasterIdLst>
  <p:notesMasterIdLst>
    <p:notesMasterId r:id="rId25"/>
  </p:notesMasterIdLst>
  <p:sldIdLst>
    <p:sldId id="327" r:id="rId10"/>
    <p:sldId id="328" r:id="rId11"/>
    <p:sldId id="292" r:id="rId12"/>
    <p:sldId id="330" r:id="rId13"/>
    <p:sldId id="315" r:id="rId14"/>
    <p:sldId id="309" r:id="rId15"/>
    <p:sldId id="331" r:id="rId16"/>
    <p:sldId id="337" r:id="rId17"/>
    <p:sldId id="334" r:id="rId18"/>
    <p:sldId id="335" r:id="rId19"/>
    <p:sldId id="336" r:id="rId20"/>
    <p:sldId id="338" r:id="rId21"/>
    <p:sldId id="339" r:id="rId22"/>
    <p:sldId id="333" r:id="rId23"/>
    <p:sldId id="296" r:id="rId24"/>
  </p:sldIdLst>
  <p:sldSz cx="9144000" cy="6858000" type="screen4x3"/>
  <p:notesSz cx="7315200" cy="96012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A11A"/>
    <a:srgbClr val="F1A1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83" d="100"/>
          <a:sy n="83" d="100"/>
        </p:scale>
        <p:origin x="-1494" y="-9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2.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143375" y="0"/>
            <a:ext cx="3170238" cy="479425"/>
          </a:xfrm>
          <a:prstGeom prst="rect">
            <a:avLst/>
          </a:prstGeom>
        </p:spPr>
        <p:txBody>
          <a:bodyPr vert="horz" lIns="91440" tIns="45720" rIns="91440" bIns="45720" rtlCol="0"/>
          <a:lstStyle>
            <a:lvl1pPr algn="r">
              <a:defRPr sz="1200"/>
            </a:lvl1pPr>
          </a:lstStyle>
          <a:p>
            <a:fld id="{3F2D3D98-3078-437B-BC98-4EC73BB7A3A2}" type="datetimeFigureOut">
              <a:rPr lang="en-US" smtClean="0"/>
              <a:t>8/7/2016</a:t>
            </a:fld>
            <a:endParaRPr lang="en-US"/>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31838" y="4560888"/>
            <a:ext cx="5851525" cy="43195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20188"/>
            <a:ext cx="3170238" cy="4794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143375" y="9120188"/>
            <a:ext cx="3170238" cy="479425"/>
          </a:xfrm>
          <a:prstGeom prst="rect">
            <a:avLst/>
          </a:prstGeom>
        </p:spPr>
        <p:txBody>
          <a:bodyPr vert="horz" lIns="91440" tIns="45720" rIns="91440" bIns="45720" rtlCol="0" anchor="b"/>
          <a:lstStyle>
            <a:lvl1pPr algn="r">
              <a:defRPr sz="1200"/>
            </a:lvl1pPr>
          </a:lstStyle>
          <a:p>
            <a:fld id="{77CCE9A7-038C-4296-A14D-88324537CF6F}" type="slidenum">
              <a:rPr lang="en-US" smtClean="0"/>
              <a:t>‹#›</a:t>
            </a:fld>
            <a:endParaRPr lang="en-US"/>
          </a:p>
        </p:txBody>
      </p:sp>
    </p:spTree>
    <p:extLst>
      <p:ext uri="{BB962C8B-B14F-4D97-AF65-F5344CB8AC3E}">
        <p14:creationId xmlns:p14="http://schemas.microsoft.com/office/powerpoint/2010/main" val="21054577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322583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Orange Title Slide">
    <p:spTree>
      <p:nvGrpSpPr>
        <p:cNvPr id="1" name=""/>
        <p:cNvGrpSpPr/>
        <p:nvPr/>
      </p:nvGrpSpPr>
      <p:grpSpPr>
        <a:xfrm>
          <a:off x="0" y="0"/>
          <a:ext cx="0" cy="0"/>
          <a:chOff x="0" y="0"/>
          <a:chExt cx="0" cy="0"/>
        </a:xfrm>
      </p:grpSpPr>
      <p:pic>
        <p:nvPicPr>
          <p:cNvPr id="7" name="Picture 6" descr="PATTERNS_PPT-07.png"/>
          <p:cNvPicPr>
            <a:picLocks noChangeAspect="1"/>
          </p:cNvPicPr>
          <p:nvPr userDrawn="1"/>
        </p:nvPicPr>
        <p:blipFill rotWithShape="1">
          <a:blip r:embed="rId2" cstate="email">
            <a:extLst>
              <a:ext uri="{28A0092B-C50C-407E-A947-70E740481C1C}">
                <a14:useLocalDpi xmlns:a14="http://schemas.microsoft.com/office/drawing/2010/main"/>
              </a:ext>
            </a:extLst>
          </a:blip>
          <a:srcRect b="18396"/>
          <a:stretch/>
        </p:blipFill>
        <p:spPr>
          <a:xfrm>
            <a:off x="0" y="0"/>
            <a:ext cx="9144000" cy="5329905"/>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765150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Purple Title Slide">
    <p:spTree>
      <p:nvGrpSpPr>
        <p:cNvPr id="1" name=""/>
        <p:cNvGrpSpPr/>
        <p:nvPr/>
      </p:nvGrpSpPr>
      <p:grpSpPr>
        <a:xfrm>
          <a:off x="0" y="0"/>
          <a:ext cx="0" cy="0"/>
          <a:chOff x="0" y="0"/>
          <a:chExt cx="0" cy="0"/>
        </a:xfrm>
      </p:grpSpPr>
      <p:pic>
        <p:nvPicPr>
          <p:cNvPr id="5" name="Picture 4"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b="18493"/>
          <a:stretch/>
        </p:blipFill>
        <p:spPr>
          <a:xfrm>
            <a:off x="0" y="1037"/>
            <a:ext cx="9144000" cy="5323560"/>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996990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Blue Title Slide">
    <p:spTree>
      <p:nvGrpSpPr>
        <p:cNvPr id="1" name=""/>
        <p:cNvGrpSpPr/>
        <p:nvPr/>
      </p:nvGrpSpPr>
      <p:grpSpPr>
        <a:xfrm>
          <a:off x="0" y="0"/>
          <a:ext cx="0" cy="0"/>
          <a:chOff x="0" y="0"/>
          <a:chExt cx="0" cy="0"/>
        </a:xfrm>
      </p:grpSpPr>
      <p:pic>
        <p:nvPicPr>
          <p:cNvPr id="6" name="Picture 5" descr="PATTERNS_PPT-05.png"/>
          <p:cNvPicPr>
            <a:picLocks noChangeAspect="1"/>
          </p:cNvPicPr>
          <p:nvPr userDrawn="1"/>
        </p:nvPicPr>
        <p:blipFill rotWithShape="1">
          <a:blip r:embed="rId2" cstate="email">
            <a:extLst>
              <a:ext uri="{28A0092B-C50C-407E-A947-70E740481C1C}">
                <a14:useLocalDpi xmlns:a14="http://schemas.microsoft.com/office/drawing/2010/main"/>
              </a:ext>
            </a:extLst>
          </a:blip>
          <a:srcRect b="18049"/>
          <a:stretch/>
        </p:blipFill>
        <p:spPr>
          <a:xfrm>
            <a:off x="0" y="-22679"/>
            <a:ext cx="9144000" cy="5352582"/>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31609846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Green Title Slide">
    <p:spTree>
      <p:nvGrpSpPr>
        <p:cNvPr id="1" name=""/>
        <p:cNvGrpSpPr/>
        <p:nvPr/>
      </p:nvGrpSpPr>
      <p:grpSpPr>
        <a:xfrm>
          <a:off x="0" y="0"/>
          <a:ext cx="0" cy="0"/>
          <a:chOff x="0" y="0"/>
          <a:chExt cx="0" cy="0"/>
        </a:xfrm>
      </p:grpSpPr>
      <p:pic>
        <p:nvPicPr>
          <p:cNvPr id="6" name="Picture 5" descr="PATTERNS_PPT-06.png"/>
          <p:cNvPicPr>
            <a:picLocks noChangeAspect="1"/>
          </p:cNvPicPr>
          <p:nvPr userDrawn="1"/>
        </p:nvPicPr>
        <p:blipFill rotWithShape="1">
          <a:blip r:embed="rId2" cstate="email">
            <a:extLst>
              <a:ext uri="{28A0092B-C50C-407E-A947-70E740481C1C}">
                <a14:useLocalDpi xmlns:a14="http://schemas.microsoft.com/office/drawing/2010/main"/>
              </a:ext>
            </a:extLst>
          </a:blip>
          <a:srcRect b="16696"/>
          <a:stretch/>
        </p:blipFill>
        <p:spPr>
          <a:xfrm>
            <a:off x="0" y="-102060"/>
            <a:ext cx="9144000" cy="5440947"/>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3613532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4_Image Title Slide_Orange">
    <p:spTree>
      <p:nvGrpSpPr>
        <p:cNvPr id="1" name=""/>
        <p:cNvGrpSpPr/>
        <p:nvPr/>
      </p:nvGrpSpPr>
      <p:grpSpPr>
        <a:xfrm>
          <a:off x="0" y="0"/>
          <a:ext cx="0" cy="0"/>
          <a:chOff x="0" y="0"/>
          <a:chExt cx="0" cy="0"/>
        </a:xfrm>
      </p:grpSpPr>
      <p:pic>
        <p:nvPicPr>
          <p:cNvPr id="6" name="Picture 5" descr="titlepage1_3.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t="6687"/>
          <a:stretch/>
        </p:blipFill>
        <p:spPr>
          <a:xfrm>
            <a:off x="0" y="-1"/>
            <a:ext cx="9144000" cy="5332829"/>
          </a:xfrm>
          <a:prstGeom prst="rect">
            <a:avLst/>
          </a:prstGeom>
        </p:spPr>
      </p:pic>
      <p:pic>
        <p:nvPicPr>
          <p:cNvPr id="7" name="Picture 6" descr="orange_over image.png"/>
          <p:cNvPicPr>
            <a:picLocks noChangeAspect="1"/>
          </p:cNvPicPr>
          <p:nvPr userDrawn="1"/>
        </p:nvPicPr>
        <p:blipFill rotWithShape="1">
          <a:blip r:embed="rId3" cstate="email">
            <a:extLst>
              <a:ext uri="{28A0092B-C50C-407E-A947-70E740481C1C}">
                <a14:useLocalDpi xmlns:a14="http://schemas.microsoft.com/office/drawing/2010/main"/>
              </a:ext>
            </a:extLst>
          </a:blip>
          <a:srcRect t="46780" b="10197"/>
          <a:stretch/>
        </p:blipFill>
        <p:spPr>
          <a:xfrm>
            <a:off x="0" y="2382251"/>
            <a:ext cx="9144000" cy="2950578"/>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5206605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2_Image Title Slide_Purple">
    <p:spTree>
      <p:nvGrpSpPr>
        <p:cNvPr id="1" name=""/>
        <p:cNvGrpSpPr/>
        <p:nvPr/>
      </p:nvGrpSpPr>
      <p:grpSpPr>
        <a:xfrm>
          <a:off x="0" y="0"/>
          <a:ext cx="0" cy="0"/>
          <a:chOff x="0" y="0"/>
          <a:chExt cx="0" cy="0"/>
        </a:xfrm>
      </p:grpSpPr>
      <p:pic>
        <p:nvPicPr>
          <p:cNvPr id="6" name="Picture 5" descr="titlepage1_2.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t="6687"/>
          <a:stretch/>
        </p:blipFill>
        <p:spPr>
          <a:xfrm>
            <a:off x="0" y="0"/>
            <a:ext cx="9144000" cy="5332830"/>
          </a:xfrm>
          <a:prstGeom prst="rect">
            <a:avLst/>
          </a:prstGeom>
        </p:spPr>
      </p:pic>
      <p:pic>
        <p:nvPicPr>
          <p:cNvPr id="7" name="Picture 6" descr="purple_over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6187"/>
          <a:stretch/>
        </p:blipFill>
        <p:spPr>
          <a:xfrm>
            <a:off x="0" y="2581686"/>
            <a:ext cx="9144000" cy="2751144"/>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2358636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3_ Image Title Slide_Blue">
    <p:spTree>
      <p:nvGrpSpPr>
        <p:cNvPr id="1" name=""/>
        <p:cNvGrpSpPr/>
        <p:nvPr/>
      </p:nvGrpSpPr>
      <p:grpSpPr>
        <a:xfrm>
          <a:off x="0" y="0"/>
          <a:ext cx="0" cy="0"/>
          <a:chOff x="0" y="0"/>
          <a:chExt cx="0" cy="0"/>
        </a:xfrm>
      </p:grpSpPr>
      <p:pic>
        <p:nvPicPr>
          <p:cNvPr id="6" name="Picture 5" descr="titlepage1_1.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b="6687"/>
          <a:stretch/>
        </p:blipFill>
        <p:spPr>
          <a:xfrm>
            <a:off x="0" y="0"/>
            <a:ext cx="9144000" cy="5332830"/>
          </a:xfrm>
          <a:prstGeom prst="rect">
            <a:avLst/>
          </a:prstGeom>
        </p:spPr>
      </p:pic>
      <p:pic>
        <p:nvPicPr>
          <p:cNvPr id="7" name="Picture 6" descr="blue_over 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1254"/>
          <a:stretch/>
        </p:blipFill>
        <p:spPr>
          <a:xfrm>
            <a:off x="0" y="917153"/>
            <a:ext cx="9144000" cy="4415677"/>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1898161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4_Image Title Slide_Green">
    <p:spTree>
      <p:nvGrpSpPr>
        <p:cNvPr id="1" name=""/>
        <p:cNvGrpSpPr/>
        <p:nvPr/>
      </p:nvGrpSpPr>
      <p:grpSpPr>
        <a:xfrm>
          <a:off x="0" y="0"/>
          <a:ext cx="0" cy="0"/>
          <a:chOff x="0" y="0"/>
          <a:chExt cx="0" cy="0"/>
        </a:xfrm>
      </p:grpSpPr>
      <p:pic>
        <p:nvPicPr>
          <p:cNvPr id="6" name="Picture 5" descr="1.png"/>
          <p:cNvPicPr>
            <a:picLocks noChangeAspect="1"/>
          </p:cNvPicPr>
          <p:nvPr userDrawn="1"/>
        </p:nvPicPr>
        <p:blipFill rotWithShape="1">
          <a:blip r:embed="rId2" cstate="email">
            <a:extLst>
              <a:ext uri="{28A0092B-C50C-407E-A947-70E740481C1C}">
                <a14:useLocalDpi xmlns:a14="http://schemas.microsoft.com/office/drawing/2010/main"/>
              </a:ext>
            </a:extLst>
          </a:blip>
          <a:srcRect t="5228"/>
          <a:stretch/>
        </p:blipFill>
        <p:spPr>
          <a:xfrm>
            <a:off x="0" y="-79380"/>
            <a:ext cx="9144000" cy="5416216"/>
          </a:xfrm>
          <a:prstGeom prst="rect">
            <a:avLst/>
          </a:prstGeom>
        </p:spPr>
      </p:pic>
      <p:pic>
        <p:nvPicPr>
          <p:cNvPr id="7" name="Picture 6" descr="green_over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2095"/>
          <a:stretch/>
        </p:blipFill>
        <p:spPr>
          <a:xfrm>
            <a:off x="0" y="1606248"/>
            <a:ext cx="9144000" cy="3723655"/>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8852603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3135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25860252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43260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32395542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224057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4456030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7320977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1869718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890898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5364761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00074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2202077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55111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553200"/>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15110908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7997737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0412124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0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986671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1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3918803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00308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5832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292004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917886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9291612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2576466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12126944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985781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36618580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Page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0"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11" name="Text Placeholder 4"/>
          <p:cNvSpPr>
            <a:spLocks noGrp="1"/>
          </p:cNvSpPr>
          <p:nvPr>
            <p:ph type="body" sz="quarter" idx="10"/>
          </p:nvPr>
        </p:nvSpPr>
        <p:spPr>
          <a:xfrm>
            <a:off x="332146" y="1435103"/>
            <a:ext cx="8520112" cy="4437063"/>
          </a:xfrm>
        </p:spPr>
        <p:txBody>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Text Placeholder 5"/>
          <p:cNvSpPr>
            <a:spLocks noGrp="1"/>
          </p:cNvSpPr>
          <p:nvPr>
            <p:ph type="body" sz="quarter" idx="14" hasCustomPrompt="1"/>
          </p:nvPr>
        </p:nvSpPr>
        <p:spPr>
          <a:xfrm>
            <a:off x="2391569" y="6523039"/>
            <a:ext cx="4360862" cy="201612"/>
          </a:xfrm>
        </p:spPr>
        <p:txBody>
          <a:bodyPr/>
          <a:lstStyle>
            <a:lvl1pPr marL="0" indent="0" algn="ctr">
              <a:buNone/>
              <a:defRPr sz="800"/>
            </a:lvl1pPr>
          </a:lstStyle>
          <a:p>
            <a:pPr lvl="0"/>
            <a:r>
              <a:rPr lang="en-US" dirty="0" smtClean="0"/>
              <a:t>Copyright © 2015 ADP, LLC. Proprietary and Confidential. </a:t>
            </a:r>
            <a:endParaRPr lang="en-US" dirty="0"/>
          </a:p>
        </p:txBody>
      </p:sp>
      <p:pic>
        <p:nvPicPr>
          <p:cNvPr id="21" name="Picture 20"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22" name="Text Placeholder 7"/>
          <p:cNvSpPr>
            <a:spLocks noGrp="1"/>
          </p:cNvSpPr>
          <p:nvPr>
            <p:ph type="body" sz="quarter" idx="13" hasCustomPrompt="1"/>
          </p:nvPr>
        </p:nvSpPr>
        <p:spPr>
          <a:xfrm>
            <a:off x="1789284" y="5460152"/>
            <a:ext cx="5789612" cy="420123"/>
          </a:xfrm>
        </p:spPr>
        <p:txBody>
          <a:bodyPr>
            <a:normAutofit/>
          </a:bodyPr>
          <a:lstStyle>
            <a:lvl1pPr marL="0" indent="0">
              <a:buNone/>
              <a:defRPr sz="1000"/>
            </a:lvl1pPr>
          </a:lstStyle>
          <a:p>
            <a:pPr lvl="0"/>
            <a:r>
              <a:rPr lang="en-US" sz="1000" dirty="0" smtClean="0"/>
              <a:t>*Footnotes.</a:t>
            </a:r>
            <a:endParaRPr lang="en-US" dirty="0"/>
          </a:p>
        </p:txBody>
      </p:sp>
      <p:pic>
        <p:nvPicPr>
          <p:cNvPr id="4" name="Picture 3" descr="PATTERNS_PPT-04.png"/>
          <p:cNvPicPr>
            <a:picLocks noChangeAspect="1"/>
          </p:cNvPicPr>
          <p:nvPr userDrawn="1"/>
        </p:nvPicPr>
        <p:blipFill rotWithShape="1">
          <a:blip r:embed="rId3" cstate="email">
            <a:extLst>
              <a:ext uri="{28A0092B-C50C-407E-A947-70E740481C1C}">
                <a14:useLocalDpi xmlns:a14="http://schemas.microsoft.com/office/drawing/2010/main"/>
              </a:ext>
            </a:extLst>
          </a:blip>
          <a:srcRect l="72515" t="62339"/>
          <a:stretch/>
        </p:blipFill>
        <p:spPr>
          <a:xfrm flipH="1">
            <a:off x="-26736" y="4424948"/>
            <a:ext cx="2513262" cy="2459789"/>
          </a:xfrm>
          <a:prstGeom prst="rect">
            <a:avLst/>
          </a:prstGeom>
        </p:spPr>
      </p:pic>
    </p:spTree>
    <p:extLst>
      <p:ext uri="{BB962C8B-B14F-4D97-AF65-F5344CB8AC3E}">
        <p14:creationId xmlns:p14="http://schemas.microsoft.com/office/powerpoint/2010/main" val="367688535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Page Minimal Confetti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5"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6" name="Text Placeholder 4"/>
          <p:cNvSpPr>
            <a:spLocks noGrp="1"/>
          </p:cNvSpPr>
          <p:nvPr>
            <p:ph type="body" sz="quarter" idx="10"/>
          </p:nvPr>
        </p:nvSpPr>
        <p:spPr>
          <a:xfrm>
            <a:off x="332146" y="1435103"/>
            <a:ext cx="8520112" cy="4437063"/>
          </a:xfrm>
        </p:spPr>
        <p:txBody>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4" y="5508809"/>
            <a:ext cx="1505715" cy="1386539"/>
          </a:xfrm>
          <a:prstGeom prst="rect">
            <a:avLst/>
          </a:prstGeom>
        </p:spPr>
      </p:pic>
      <p:sp>
        <p:nvSpPr>
          <p:cNvPr id="11" name="Text Placeholder 5"/>
          <p:cNvSpPr>
            <a:spLocks noGrp="1"/>
          </p:cNvSpPr>
          <p:nvPr>
            <p:ph type="body" sz="quarter" idx="14" hasCustomPrompt="1"/>
          </p:nvPr>
        </p:nvSpPr>
        <p:spPr>
          <a:xfrm>
            <a:off x="7433600" y="6537413"/>
            <a:ext cx="1329087" cy="245963"/>
          </a:xfrm>
        </p:spPr>
        <p:txBody>
          <a:bodyPr anchor="ctr">
            <a:normAutofit/>
          </a:bodyPr>
          <a:lstStyle>
            <a:lvl1pPr marL="0" indent="0" algn="r">
              <a:buNone/>
              <a:defRPr sz="600"/>
            </a:lvl1pPr>
          </a:lstStyle>
          <a:p>
            <a:pPr lvl="0"/>
            <a:r>
              <a:rPr lang="en-US" dirty="0" smtClean="0"/>
              <a:t>Proprietary and Confidential. </a:t>
            </a:r>
            <a:endParaRPr lang="en-US" dirty="0"/>
          </a:p>
        </p:txBody>
      </p:sp>
      <p:pic>
        <p:nvPicPr>
          <p:cNvPr id="15" name="Picture 14"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419783" y="6221368"/>
            <a:ext cx="685800" cy="274320"/>
          </a:xfrm>
          <a:prstGeom prst="rect">
            <a:avLst/>
          </a:prstGeom>
        </p:spPr>
      </p:pic>
      <p:sp>
        <p:nvSpPr>
          <p:cNvPr id="17" name="Text Placeholder 7"/>
          <p:cNvSpPr>
            <a:spLocks noGrp="1"/>
          </p:cNvSpPr>
          <p:nvPr>
            <p:ph type="body" sz="quarter" idx="13" hasCustomPrompt="1"/>
          </p:nvPr>
        </p:nvSpPr>
        <p:spPr>
          <a:xfrm>
            <a:off x="1310341" y="6321529"/>
            <a:ext cx="5789612" cy="420123"/>
          </a:xfrm>
        </p:spPr>
        <p:txBody>
          <a:bodyPr>
            <a:normAutofit/>
          </a:bodyPr>
          <a:lstStyle>
            <a:lvl1pPr marL="0" indent="0">
              <a:buNone/>
              <a:defRPr sz="1000"/>
            </a:lvl1pPr>
          </a:lstStyle>
          <a:p>
            <a:pPr lvl="0"/>
            <a:r>
              <a:rPr lang="en-US" sz="1000" dirty="0" smtClean="0"/>
              <a:t>*Footnotes.</a:t>
            </a:r>
            <a:endParaRPr lang="en-US" dirty="0"/>
          </a:p>
        </p:txBody>
      </p:sp>
      <p:sp>
        <p:nvSpPr>
          <p:cNvPr id="2" name="TextBox 1"/>
          <p:cNvSpPr txBox="1"/>
          <p:nvPr userDrawn="1"/>
        </p:nvSpPr>
        <p:spPr>
          <a:xfrm>
            <a:off x="8623016" y="6529588"/>
            <a:ext cx="505700" cy="261610"/>
          </a:xfrm>
          <a:prstGeom prst="rect">
            <a:avLst/>
          </a:prstGeom>
          <a:noFill/>
        </p:spPr>
        <p:txBody>
          <a:bodyPr wrap="square" rtlCol="0">
            <a:spAutoFit/>
          </a:bodyPr>
          <a:lstStyle/>
          <a:p>
            <a:pPr algn="ctr" defTabSz="457200"/>
            <a:fld id="{2E8F6637-2DD8-4711-867B-A63C5785DA4E}" type="slidenum">
              <a:rPr lang="en-US" sz="1100">
                <a:solidFill>
                  <a:srgbClr val="6F6F73"/>
                </a:solidFill>
              </a:rPr>
              <a:pPr algn="ctr" defTabSz="457200"/>
              <a:t>‹#›</a:t>
            </a:fld>
            <a:endParaRPr lang="en-US" sz="1100" dirty="0">
              <a:solidFill>
                <a:srgbClr val="6F6F73"/>
              </a:solidFill>
            </a:endParaRPr>
          </a:p>
        </p:txBody>
      </p:sp>
    </p:spTree>
    <p:extLst>
      <p:ext uri="{BB962C8B-B14F-4D97-AF65-F5344CB8AC3E}">
        <p14:creationId xmlns:p14="http://schemas.microsoft.com/office/powerpoint/2010/main" val="132800139"/>
      </p:ext>
    </p:extLst>
  </p:cSld>
  <p:clrMapOvr>
    <a:masterClrMapping/>
  </p:clrMapOvr>
  <p:timing>
    <p:tnLst>
      <p:par>
        <p:cTn id="1" dur="indefinite" restart="never" nodeType="tmRoot"/>
      </p:par>
    </p:tnLst>
  </p:timing>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Content Page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9"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14" name="Text Placeholder 7"/>
          <p:cNvSpPr>
            <a:spLocks noGrp="1"/>
          </p:cNvSpPr>
          <p:nvPr>
            <p:ph type="body" sz="quarter" idx="13" hasCustomPrompt="1"/>
          </p:nvPr>
        </p:nvSpPr>
        <p:spPr>
          <a:xfrm>
            <a:off x="332146" y="5460152"/>
            <a:ext cx="5789612" cy="420123"/>
          </a:xfrm>
        </p:spPr>
        <p:txBody>
          <a:bodyPr>
            <a:normAutofit/>
          </a:bodyPr>
          <a:lstStyle>
            <a:lvl1pPr marL="0" indent="0">
              <a:buNone/>
              <a:defRPr sz="1000"/>
            </a:lvl1pPr>
          </a:lstStyle>
          <a:p>
            <a:pPr lvl="0"/>
            <a:r>
              <a:rPr lang="en-US" sz="1000" dirty="0" smtClean="0"/>
              <a:t>*Footnotes.</a:t>
            </a:r>
            <a:endParaRPr lang="en-US" dirty="0"/>
          </a:p>
        </p:txBody>
      </p:sp>
      <p:sp>
        <p:nvSpPr>
          <p:cNvPr id="13" name="Text Placeholder 4"/>
          <p:cNvSpPr>
            <a:spLocks noGrp="1"/>
          </p:cNvSpPr>
          <p:nvPr>
            <p:ph type="body" sz="quarter" idx="10"/>
          </p:nvPr>
        </p:nvSpPr>
        <p:spPr>
          <a:xfrm>
            <a:off x="332146" y="1435101"/>
            <a:ext cx="8520112" cy="4025051"/>
          </a:xfrm>
        </p:spPr>
        <p:txBody>
          <a:bodyPr>
            <a:normAutofit/>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sz="2400"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5"/>
          <p:cNvSpPr>
            <a:spLocks noGrp="1"/>
          </p:cNvSpPr>
          <p:nvPr>
            <p:ph type="body" sz="quarter" idx="14" hasCustomPrompt="1"/>
          </p:nvPr>
        </p:nvSpPr>
        <p:spPr>
          <a:xfrm>
            <a:off x="2391569" y="6523039"/>
            <a:ext cx="4360862" cy="201612"/>
          </a:xfrm>
        </p:spPr>
        <p:txBody>
          <a:bodyPr/>
          <a:lstStyle>
            <a:lvl1pPr marL="0" indent="0" algn="ctr">
              <a:buNone/>
              <a:defRPr sz="800"/>
            </a:lvl1pPr>
          </a:lstStyle>
          <a:p>
            <a:pPr lvl="0"/>
            <a:r>
              <a:rPr lang="en-US" dirty="0" smtClean="0"/>
              <a:t>Copyright © 2015 ADP, LLC. Proprietary and Confidential. </a:t>
            </a:r>
            <a:endParaRPr lang="en-US" dirty="0"/>
          </a:p>
        </p:txBody>
      </p:sp>
      <p:pic>
        <p:nvPicPr>
          <p:cNvPr id="11" name="Picture 10"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Tree>
    <p:extLst>
      <p:ext uri="{BB962C8B-B14F-4D97-AF65-F5344CB8AC3E}">
        <p14:creationId xmlns:p14="http://schemas.microsoft.com/office/powerpoint/2010/main" val="242687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tmplLst>
          <p:tmpl lvl="1">
            <p:tnLst>
              <p:par>
                <p:cTn presetID="1" presetClass="entr" presetSubtype="0" fill="hold" nodeType="click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2">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3">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4">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5">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Lst>
      </p:bldP>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r Divider Page 3">
    <p:spTree>
      <p:nvGrpSpPr>
        <p:cNvPr id="1" name=""/>
        <p:cNvGrpSpPr/>
        <p:nvPr/>
      </p:nvGrpSpPr>
      <p:grpSpPr>
        <a:xfrm>
          <a:off x="0" y="0"/>
          <a:ext cx="0" cy="0"/>
          <a:chOff x="0" y="0"/>
          <a:chExt cx="0" cy="0"/>
        </a:xfrm>
      </p:grpSpPr>
      <p:pic>
        <p:nvPicPr>
          <p:cNvPr id="2" name="Picture 1" descr="PATTERNS_PPT-05.png"/>
          <p:cNvPicPr>
            <a:picLocks noChangeAspect="1"/>
          </p:cNvPicPr>
          <p:nvPr userDrawn="1"/>
        </p:nvPicPr>
        <p:blipFill rotWithShape="1">
          <a:blip r:embed="rId2" cstate="email">
            <a:extLst>
              <a:ext uri="{28A0092B-C50C-407E-A947-70E740481C1C}">
                <a14:useLocalDpi xmlns:a14="http://schemas.microsoft.com/office/drawing/2010/main"/>
              </a:ext>
            </a:extLst>
          </a:blip>
          <a:srcRect b="16491"/>
          <a:stretch/>
        </p:blipFill>
        <p:spPr>
          <a:xfrm>
            <a:off x="0" y="3"/>
            <a:ext cx="9144000" cy="5454316"/>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9"/>
            <a:ext cx="4360862" cy="201612"/>
          </a:xfr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9"/>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4" y="5769520"/>
            <a:ext cx="7058025" cy="620587"/>
          </a:xfr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649916478"/>
      </p:ext>
    </p:extLst>
  </p:cSld>
  <p:clrMapOvr>
    <a:masterClrMapping/>
  </p:clrMapOvr>
  <p:transition spd="slow">
    <p:push/>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srgbClr val="6F6F73">
                  <a:tint val="75000"/>
                </a:srgbClr>
              </a:solidFill>
            </a:endParaRPr>
          </a:p>
        </p:txBody>
      </p:sp>
      <p:sp>
        <p:nvSpPr>
          <p:cNvPr id="5" name="Footer Placeholder 4"/>
          <p:cNvSpPr>
            <a:spLocks noGrp="1"/>
          </p:cNvSpPr>
          <p:nvPr>
            <p:ph type="ftr" sz="quarter" idx="11"/>
          </p:nvPr>
        </p:nvSpPr>
        <p:spPr/>
        <p:txBody>
          <a:bodyPr/>
          <a:lstStyle/>
          <a:p>
            <a:r>
              <a:rPr lang="en-US" smtClean="0">
                <a:solidFill>
                  <a:srgbClr val="6F6F73">
                    <a:tint val="75000"/>
                  </a:srgbClr>
                </a:solidFill>
              </a:rPr>
              <a:t>ADP Confidential</a:t>
            </a:r>
            <a:endParaRPr lang="en-US">
              <a:solidFill>
                <a:srgbClr val="6F6F73">
                  <a:tint val="75000"/>
                </a:srgbClr>
              </a:solidFill>
            </a:endParaRPr>
          </a:p>
        </p:txBody>
      </p:sp>
      <p:sp>
        <p:nvSpPr>
          <p:cNvPr id="6" name="Slide Number Placeholder 5"/>
          <p:cNvSpPr>
            <a:spLocks noGrp="1"/>
          </p:cNvSpPr>
          <p:nvPr>
            <p:ph type="sldNum" sz="quarter" idx="12"/>
          </p:nvPr>
        </p:nvSpPr>
        <p:spPr/>
        <p:txBody>
          <a:bodyPr/>
          <a:lstStyle/>
          <a:p>
            <a:fld id="{99BD8DA4-FDB3-448F-A1B5-B03AE8ADE80A}" type="slidenum">
              <a:rPr lang="en-US" smtClean="0">
                <a:solidFill>
                  <a:srgbClr val="6F6F73">
                    <a:tint val="75000"/>
                  </a:srgbClr>
                </a:solidFill>
              </a:rPr>
              <a:pPr/>
              <a:t>‹#›</a:t>
            </a:fld>
            <a:endParaRPr lang="en-US">
              <a:solidFill>
                <a:srgbClr val="6F6F73">
                  <a:tint val="75000"/>
                </a:srgbClr>
              </a:solidFill>
            </a:endParaRPr>
          </a:p>
        </p:txBody>
      </p:sp>
    </p:spTree>
    <p:extLst>
      <p:ext uri="{BB962C8B-B14F-4D97-AF65-F5344CB8AC3E}">
        <p14:creationId xmlns:p14="http://schemas.microsoft.com/office/powerpoint/2010/main" val="31367396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51135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40824001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0365220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1089298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7286175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2103356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2031444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6439794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6333099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164717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23712230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2371734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69390283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5718791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4465328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433539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1246081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22886361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7095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1923525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1302151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2356614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537402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15678895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297704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1190356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3487021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522486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8308583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10" Type="http://schemas.openxmlformats.org/officeDocument/2006/relationships/image" Target="../media/image6.png"/><Relationship Id="rId4" Type="http://schemas.openxmlformats.org/officeDocument/2006/relationships/slideLayout" Target="../slideLayouts/slideLayout13.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oleObject" Target="../embeddings/oleObject2.bin"/><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ags" Target="../tags/tag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vmlDrawing" Target="../drawings/vmlDrawing2.vml"/><Relationship Id="rId5" Type="http://schemas.openxmlformats.org/officeDocument/2006/relationships/slideLayout" Target="../slideLayouts/slideLayout22.xml"/><Relationship Id="rId10" Type="http://schemas.openxmlformats.org/officeDocument/2006/relationships/theme" Target="../theme/theme3.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image" Target="../media/image1.emf"/><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oleObject" Target="../embeddings/oleObject3.bin"/><Relationship Id="rId5" Type="http://schemas.openxmlformats.org/officeDocument/2006/relationships/slideLayout" Target="../slideLayouts/slideLayout31.xml"/><Relationship Id="rId10" Type="http://schemas.openxmlformats.org/officeDocument/2006/relationships/tags" Target="../tags/tag4.xml"/><Relationship Id="rId4" Type="http://schemas.openxmlformats.org/officeDocument/2006/relationships/slideLayout" Target="../slideLayouts/slideLayout30.xml"/><Relationship Id="rId9" Type="http://schemas.openxmlformats.org/officeDocument/2006/relationships/vmlDrawing" Target="../drawings/vmlDrawing3.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1.emf"/><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oleObject" Target="../embeddings/oleObject4.bin"/><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ags" Target="../tags/tag5.xml"/><Relationship Id="rId5" Type="http://schemas.openxmlformats.org/officeDocument/2006/relationships/slideLayout" Target="../slideLayouts/slideLayout38.xml"/><Relationship Id="rId10" Type="http://schemas.openxmlformats.org/officeDocument/2006/relationships/vmlDrawing" Target="../drawings/vmlDrawing4.vml"/><Relationship Id="rId4" Type="http://schemas.openxmlformats.org/officeDocument/2006/relationships/slideLayout" Target="../slideLayouts/slideLayout37.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44.xml"/><Relationship Id="rId7" Type="http://schemas.openxmlformats.org/officeDocument/2006/relationships/vmlDrawing" Target="../drawings/vmlDrawing5.v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theme" Target="../theme/theme6.xml"/><Relationship Id="rId5" Type="http://schemas.openxmlformats.org/officeDocument/2006/relationships/slideLayout" Target="../slideLayouts/slideLayout46.xml"/><Relationship Id="rId10" Type="http://schemas.openxmlformats.org/officeDocument/2006/relationships/image" Target="../media/image18.emf"/><Relationship Id="rId4" Type="http://schemas.openxmlformats.org/officeDocument/2006/relationships/slideLayout" Target="../slideLayouts/slideLayout45.xml"/><Relationship Id="rId9" Type="http://schemas.openxmlformats.org/officeDocument/2006/relationships/oleObject" Target="../embeddings/oleObject5.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image" Target="../media/image1.emf"/><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oleObject" Target="../embeddings/oleObject6.bin"/><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ags" Target="../tags/tag7.xml"/><Relationship Id="rId5" Type="http://schemas.openxmlformats.org/officeDocument/2006/relationships/slideLayout" Target="../slideLayouts/slideLayout51.xml"/><Relationship Id="rId10" Type="http://schemas.openxmlformats.org/officeDocument/2006/relationships/vmlDrawing" Target="../drawings/vmlDrawing6.vml"/><Relationship Id="rId4" Type="http://schemas.openxmlformats.org/officeDocument/2006/relationships/slideLayout" Target="../slideLayouts/slideLayout50.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image" Target="../media/image1.emf"/><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oleObject" Target="../embeddings/oleObject7.bin"/><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ags" Target="../tags/tag8.xml"/><Relationship Id="rId5" Type="http://schemas.openxmlformats.org/officeDocument/2006/relationships/slideLayout" Target="../slideLayouts/slideLayout59.xml"/><Relationship Id="rId10" Type="http://schemas.openxmlformats.org/officeDocument/2006/relationships/vmlDrawing" Target="../drawings/vmlDrawing7.vml"/><Relationship Id="rId4" Type="http://schemas.openxmlformats.org/officeDocument/2006/relationships/slideLayout" Target="../slideLayouts/slideLayout58.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image" Target="../media/image1.emf"/><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oleObject" Target="../embeddings/oleObject8.bin"/><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tags" Target="../tags/tag9.xml"/><Relationship Id="rId5" Type="http://schemas.openxmlformats.org/officeDocument/2006/relationships/slideLayout" Target="../slideLayouts/slideLayout67.xml"/><Relationship Id="rId10" Type="http://schemas.openxmlformats.org/officeDocument/2006/relationships/vmlDrawing" Target="../drawings/vmlDrawing8.vml"/><Relationship Id="rId4" Type="http://schemas.openxmlformats.org/officeDocument/2006/relationships/slideLayout" Target="../slideLayouts/slideLayout66.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ext uri="{D42A27DB-BD31-4B8C-83A1-F6EECF244321}">
                <p14:modId xmlns:p14="http://schemas.microsoft.com/office/powerpoint/2010/main" val="8289373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7" name="think-cell Slide" r:id="rId13" imgW="360" imgH="360" progId="TCLayout.ActiveDocument.1">
                  <p:embed/>
                </p:oleObj>
              </mc:Choice>
              <mc:Fallback>
                <p:oleObj name="think-cell Slide" r:id="rId13" imgW="360" imgH="36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588521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3" descr="F:\Clients\ADP\Departments\Creative\Common Elements\Logos\ADP Logos with New Tag_MullenLowe_Updated\ADP Logo w Tag Right\ADP Logo w Tag Right_Png\ADP RED Logo w Tag_RGB_Right_updated.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402658" y="5896937"/>
            <a:ext cx="1776222" cy="101498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1"/>
            <a:ext cx="8229600" cy="41147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5"/>
          <p:cNvSpPr txBox="1">
            <a:spLocks/>
          </p:cNvSpPr>
          <p:nvPr/>
        </p:nvSpPr>
        <p:spPr>
          <a:xfrm>
            <a:off x="2391569" y="6523038"/>
            <a:ext cx="4360862" cy="201612"/>
          </a:xfrm>
          <a:prstGeom prst="rect">
            <a:avLst/>
          </a:prstGeom>
        </p:spPr>
        <p:txBody>
          <a:bodyPr/>
          <a:lstStyle>
            <a:lvl1pPr marL="0" indent="0" algn="ctr" defTabSz="914400" rtl="0" eaLnBrk="1" latinLnBrk="0" hangingPunct="1">
              <a:spcBef>
                <a:spcPct val="20000"/>
              </a:spcBef>
              <a:buFont typeface="Arial" pitchFamily="34" charset="0"/>
              <a:buNone/>
              <a:defRPr sz="8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mtClean="0">
                <a:solidFill>
                  <a:srgbClr val="6F6F73"/>
                </a:solidFill>
              </a:rPr>
              <a:t>Copyright © 2015 ADP, LLC. Proprietary and Confidential. </a:t>
            </a:r>
            <a:endParaRPr lang="en-US" dirty="0">
              <a:solidFill>
                <a:srgbClr val="6F6F73"/>
              </a:solidFill>
            </a:endParaRPr>
          </a:p>
        </p:txBody>
      </p:sp>
    </p:spTree>
    <p:extLst>
      <p:ext uri="{BB962C8B-B14F-4D97-AF65-F5344CB8AC3E}">
        <p14:creationId xmlns:p14="http://schemas.microsoft.com/office/powerpoint/2010/main" val="2051279668"/>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txStyles>
    <p:titleStyle>
      <a:lvl1pPr algn="l" defTabSz="914400" rtl="0" eaLnBrk="1" latinLnBrk="0" hangingPunct="1">
        <a:spcBef>
          <a:spcPct val="0"/>
        </a:spcBef>
        <a:buNone/>
        <a:defRPr sz="2800" b="1" kern="1200">
          <a:solidFill>
            <a:srgbClr val="626262"/>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rgbClr val="62626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rgbClr val="62626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rgbClr val="62626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rgbClr val="62626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rgbClr val="62626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429888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0" name="think-cell Slide" r:id="rId13" imgW="360" imgH="360" progId="TCLayout.ActiveDocument.1">
                  <p:embed/>
                </p:oleObj>
              </mc:Choice>
              <mc:Fallback>
                <p:oleObj name="think-cell Slide" r:id="rId13" imgW="360" imgH="36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073427817"/>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4141310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21" name="think-cell Slide" r:id="rId11" imgW="360" imgH="360" progId="TCLayout.ActiveDocument.1">
                  <p:embed/>
                </p:oleObj>
              </mc:Choice>
              <mc:Fallback>
                <p:oleObj name="think-cell Slide" r:id="rId11" imgW="360" imgH="36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74703498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3" r:id="rId3"/>
    <p:sldLayoutId id="2147483694" r:id="rId4"/>
    <p:sldLayoutId id="2147483695" r:id="rId5"/>
    <p:sldLayoutId id="2147483696" r:id="rId6"/>
    <p:sldLayoutId id="2147483697" r:id="rId7"/>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915844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60"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485517128"/>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2" r:id="rId3"/>
    <p:sldLayoutId id="2147483703" r:id="rId4"/>
    <p:sldLayoutId id="2147483704" r:id="rId5"/>
    <p:sldLayoutId id="2147483705" r:id="rId6"/>
    <p:sldLayoutId id="2147483706" r:id="rId7"/>
    <p:sldLayoutId id="2147483707"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976890389"/>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338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91"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endParaRPr lang="en-US">
              <a:solidFill>
                <a:srgbClr val="6F6F73">
                  <a:tint val="75000"/>
                </a:srgbClr>
              </a:solidFill>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a:solidFill>
                <a:srgbClr val="6F6F73">
                  <a:tint val="75000"/>
                </a:srgbClr>
              </a:solidFill>
            </a:endParaRP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42FAF971-F5CC-428B-96CB-3646D0AB3B36}" type="slidenum">
              <a:rPr lang="en-US" smtClean="0">
                <a:solidFill>
                  <a:srgbClr val="6F6F73">
                    <a:tint val="75000"/>
                  </a:srgbClr>
                </a:solidFill>
              </a:rPr>
              <a:pPr defTabSz="457200"/>
              <a:t>‹#›</a:t>
            </a:fld>
            <a:endParaRPr lang="en-US">
              <a:solidFill>
                <a:srgbClr val="6F6F73">
                  <a:tint val="75000"/>
                </a:srgbClr>
              </a:solidFill>
            </a:endParaRPr>
          </a:p>
        </p:txBody>
      </p:sp>
    </p:spTree>
    <p:extLst>
      <p:ext uri="{BB962C8B-B14F-4D97-AF65-F5344CB8AC3E}">
        <p14:creationId xmlns:p14="http://schemas.microsoft.com/office/powerpoint/2010/main" val="277817744"/>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Lst>
  <p:hf hdr="0" ftr="0" dt="0"/>
  <p:txStyles>
    <p:titleStyle>
      <a:lvl1pPr algn="l" defTabSz="914400" rtl="0" eaLnBrk="1" latinLnBrk="0" hangingPunct="1">
        <a:spcBef>
          <a:spcPct val="0"/>
        </a:spcBef>
        <a:buNone/>
        <a:defRPr sz="2800" b="1"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a:ea typeface="+mn-ea"/>
          <a:cs typeface="Arial"/>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Arial"/>
          <a:ea typeface="+mn-ea"/>
          <a:cs typeface="Arial"/>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9946824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29"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62576316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1" r:id="rId3"/>
    <p:sldLayoutId id="2147483732" r:id="rId4"/>
    <p:sldLayoutId id="2147483733" r:id="rId5"/>
    <p:sldLayoutId id="2147483734" r:id="rId6"/>
    <p:sldLayoutId id="2147483735" r:id="rId7"/>
    <p:sldLayoutId id="214748373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58850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75"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83578858"/>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1" r:id="rId3"/>
    <p:sldLayoutId id="2147483742" r:id="rId4"/>
    <p:sldLayoutId id="2147483743" r:id="rId5"/>
    <p:sldLayoutId id="2147483744" r:id="rId6"/>
    <p:sldLayoutId id="2147483745" r:id="rId7"/>
    <p:sldLayoutId id="214748374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9956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99"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2036283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1" r:id="rId3"/>
    <p:sldLayoutId id="2147483752" r:id="rId4"/>
    <p:sldLayoutId id="2147483753" r:id="rId5"/>
    <p:sldLayoutId id="2147483754" r:id="rId6"/>
    <p:sldLayoutId id="2147483755" r:id="rId7"/>
    <p:sldLayoutId id="214748375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3.xml"/><Relationship Id="rId7" Type="http://schemas.openxmlformats.org/officeDocument/2006/relationships/image" Target="../media/image32.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31.png"/><Relationship Id="rId5" Type="http://schemas.openxmlformats.org/officeDocument/2006/relationships/image" Target="../media/image18.emf"/><Relationship Id="rId10" Type="http://schemas.openxmlformats.org/officeDocument/2006/relationships/image" Target="../media/image35.png"/><Relationship Id="rId4" Type="http://schemas.openxmlformats.org/officeDocument/2006/relationships/oleObject" Target="../embeddings/oleObject10.bin"/><Relationship Id="rId9" Type="http://schemas.openxmlformats.org/officeDocument/2006/relationships/image" Target="../media/image34.png"/></Relationships>
</file>

<file path=ppt/slides/_rels/slide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3.xml"/><Relationship Id="rId7" Type="http://schemas.openxmlformats.org/officeDocument/2006/relationships/image" Target="../media/image22.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21.png"/><Relationship Id="rId5" Type="http://schemas.openxmlformats.org/officeDocument/2006/relationships/image" Target="../media/image18.emf"/><Relationship Id="rId4" Type="http://schemas.openxmlformats.org/officeDocument/2006/relationships/oleObject" Target="../embeddings/oleObject9.bin"/><Relationship Id="rId9" Type="http://schemas.openxmlformats.org/officeDocument/2006/relationships/image" Target="../media/image24.png"/></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a:xfrm>
            <a:off x="362901" y="201028"/>
            <a:ext cx="8476299" cy="2237372"/>
          </a:xfrm>
        </p:spPr>
        <p:txBody>
          <a:bodyPr/>
          <a:lstStyle/>
          <a:p>
            <a:pPr marL="0" indent="0">
              <a:buNone/>
            </a:pPr>
            <a:r>
              <a:rPr lang="en-US" sz="1400" dirty="0"/>
              <a:t>Final Presentations (Week 14)</a:t>
            </a:r>
          </a:p>
          <a:p>
            <a:r>
              <a:rPr lang="en-US" sz="1400" b="0" dirty="0"/>
              <a:t>You will give a demonstration of your visualization in action for your classmates during the discussion section. Like the mid-term presentations, you will have 15 minutes. </a:t>
            </a:r>
            <a:endParaRPr lang="en-US" sz="1400" b="0" dirty="0" smtClean="0"/>
          </a:p>
          <a:p>
            <a:pPr lvl="1"/>
            <a:r>
              <a:rPr lang="en-US" sz="1400" b="0" dirty="0" smtClean="0"/>
              <a:t>This </a:t>
            </a:r>
            <a:r>
              <a:rPr lang="en-US" sz="1400" b="0" dirty="0"/>
              <a:t>demonstration is your chance to show your fellow students how far your design has come since the mid-term milestone. Tell us what you changed and why. </a:t>
            </a:r>
            <a:endParaRPr lang="en-US" sz="1400" b="0" dirty="0" smtClean="0"/>
          </a:p>
          <a:p>
            <a:pPr lvl="1"/>
            <a:r>
              <a:rPr lang="en-US" sz="1400" b="0" dirty="0" smtClean="0"/>
              <a:t>You </a:t>
            </a:r>
            <a:r>
              <a:rPr lang="en-US" sz="1400" b="0" dirty="0"/>
              <a:t>must include details and conclusions from at least one round of usability testing (with at least three different subjects).Tell how your design changed (or will change) in response to your findings. </a:t>
            </a:r>
            <a:endParaRPr lang="en-US" sz="1400" b="0" dirty="0" smtClean="0"/>
          </a:p>
          <a:p>
            <a:pPr lvl="1"/>
            <a:r>
              <a:rPr lang="en-US" sz="1400" b="0" dirty="0" smtClean="0"/>
              <a:t>Also </a:t>
            </a:r>
            <a:r>
              <a:rPr lang="en-US" sz="1400" b="0" dirty="0"/>
              <a:t>address your choice of tools for building the final interactive </a:t>
            </a:r>
            <a:r>
              <a:rPr lang="en-US" sz="1400" b="0" dirty="0" smtClean="0"/>
              <a:t>visualization</a:t>
            </a:r>
          </a:p>
          <a:p>
            <a:pPr lvl="1"/>
            <a:r>
              <a:rPr lang="en-US" sz="1400" b="0" dirty="0" smtClean="0"/>
              <a:t>All </a:t>
            </a:r>
            <a:r>
              <a:rPr lang="en-US" sz="1400" b="0" dirty="0"/>
              <a:t>team members must participate in the presentation.</a:t>
            </a:r>
            <a:endParaRPr lang="en-US" sz="1400" dirty="0"/>
          </a:p>
          <a:p>
            <a:pPr marL="0" indent="0">
              <a:buNone/>
            </a:pPr>
            <a:endParaRPr lang="en-US" sz="1400" b="0" dirty="0" smtClean="0"/>
          </a:p>
          <a:p>
            <a:pPr marL="0" indent="0">
              <a:buNone/>
            </a:pPr>
            <a:r>
              <a:rPr lang="en-US" sz="1400" dirty="0" smtClean="0"/>
              <a:t>Grading Rubric for Final Project (not just presentation)</a:t>
            </a:r>
          </a:p>
          <a:p>
            <a:pPr marL="0" indent="0">
              <a:buNone/>
            </a:pPr>
            <a:r>
              <a:rPr lang="en-US" sz="1400" b="0" dirty="0" smtClean="0"/>
              <a:t>Your </a:t>
            </a:r>
            <a:r>
              <a:rPr lang="en-US" sz="1400" b="0" dirty="0"/>
              <a:t>instructor will consider the final presentations, the web site, and any additional information you provide in the final paper in determining a single grade for the final project.</a:t>
            </a:r>
            <a:endParaRPr lang="en-US" sz="1400" dirty="0"/>
          </a:p>
          <a:p>
            <a:r>
              <a:rPr lang="en-US" sz="1400" b="0" dirty="0"/>
              <a:t>12 points - Is the final product of appropriate form?</a:t>
            </a:r>
            <a:endParaRPr lang="en-US" sz="1400" dirty="0"/>
          </a:p>
          <a:p>
            <a:r>
              <a:rPr lang="en-US" sz="1400" b="0" dirty="0"/>
              <a:t>12 points - Does it successfully solve a problem or inform the user?</a:t>
            </a:r>
            <a:endParaRPr lang="en-US" sz="1400" dirty="0"/>
          </a:p>
          <a:p>
            <a:r>
              <a:rPr lang="en-US" sz="1400" dirty="0"/>
              <a:t>12 points - Is the explanatory text clear?</a:t>
            </a:r>
          </a:p>
          <a:p>
            <a:r>
              <a:rPr lang="en-US" sz="1400" dirty="0"/>
              <a:t>12 points - Did you show substantial iteration?</a:t>
            </a:r>
          </a:p>
          <a:p>
            <a:r>
              <a:rPr lang="en-US" sz="1400" b="0" dirty="0"/>
              <a:t>10 points - Can the visualization be understood without too much effort?</a:t>
            </a:r>
            <a:endParaRPr lang="en-US" sz="1400" dirty="0"/>
          </a:p>
          <a:p>
            <a:r>
              <a:rPr lang="en-US" sz="1400" b="0" dirty="0"/>
              <a:t>10 points - Is it aesthetically pleasing?</a:t>
            </a:r>
            <a:endParaRPr lang="en-US" sz="1400" dirty="0"/>
          </a:p>
          <a:p>
            <a:r>
              <a:rPr lang="en-US" sz="1400" b="0" dirty="0"/>
              <a:t>10 points - Did you include results of usability testing?</a:t>
            </a:r>
            <a:endParaRPr lang="en-US" sz="1400" dirty="0"/>
          </a:p>
          <a:p>
            <a:r>
              <a:rPr lang="en-US" sz="1400" b="0" dirty="0"/>
              <a:t>8 points - Did you present data in a novel way?</a:t>
            </a:r>
            <a:endParaRPr lang="en-US" sz="1400" dirty="0"/>
          </a:p>
          <a:p>
            <a:r>
              <a:rPr lang="en-US" sz="1400" b="0" dirty="0"/>
              <a:t>8 points - Did you explain your choice of tools?</a:t>
            </a:r>
            <a:endParaRPr lang="en-US" sz="1400" dirty="0"/>
          </a:p>
          <a:p>
            <a:r>
              <a:rPr lang="en-US" sz="1400" b="0" dirty="0"/>
              <a:t>6 points - Did everyone in your group participate?</a:t>
            </a:r>
            <a:endParaRPr lang="en-US" sz="1400" dirty="0"/>
          </a:p>
          <a:p>
            <a:endParaRPr lang="en-US" sz="1400" dirty="0"/>
          </a:p>
        </p:txBody>
      </p:sp>
    </p:spTree>
    <p:extLst>
      <p:ext uri="{BB962C8B-B14F-4D97-AF65-F5344CB8AC3E}">
        <p14:creationId xmlns:p14="http://schemas.microsoft.com/office/powerpoint/2010/main" val="1765985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152400"/>
            <a:ext cx="8229600" cy="761278"/>
          </a:xfrm>
        </p:spPr>
        <p:txBody>
          <a:bodyPr/>
          <a:lstStyle/>
          <a:p>
            <a:r>
              <a:rPr lang="en-US" b="1" dirty="0" smtClean="0"/>
              <a:t>Testing uncovered a number of potential </a:t>
            </a:r>
            <a:br>
              <a:rPr lang="en-US" b="1" dirty="0" smtClean="0"/>
            </a:br>
            <a:r>
              <a:rPr lang="en-US" b="1" dirty="0" smtClean="0"/>
              <a:t>changes to improve the user experience</a:t>
            </a:r>
            <a:endParaRPr lang="en-US" b="1" dirty="0"/>
          </a:p>
        </p:txBody>
      </p:sp>
      <p:sp>
        <p:nvSpPr>
          <p:cNvPr id="4" name="Rectangle 3"/>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UX Testing</a:t>
            </a:r>
            <a:endParaRPr lang="en-US" sz="1200" b="1" dirty="0"/>
          </a:p>
        </p:txBody>
      </p:sp>
      <p:pic>
        <p:nvPicPr>
          <p:cNvPr id="6"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Table 7"/>
          <p:cNvGraphicFramePr>
            <a:graphicFrameLocks noGrp="1"/>
          </p:cNvGraphicFramePr>
          <p:nvPr>
            <p:extLst>
              <p:ext uri="{D42A27DB-BD31-4B8C-83A1-F6EECF244321}">
                <p14:modId xmlns:p14="http://schemas.microsoft.com/office/powerpoint/2010/main" val="915966529"/>
              </p:ext>
            </p:extLst>
          </p:nvPr>
        </p:nvGraphicFramePr>
        <p:xfrm>
          <a:off x="381000" y="1143000"/>
          <a:ext cx="8305800" cy="5334000"/>
        </p:xfrm>
        <a:graphic>
          <a:graphicData uri="http://schemas.openxmlformats.org/drawingml/2006/table">
            <a:tbl>
              <a:tblPr firstRow="1" bandRow="1">
                <a:tableStyleId>{5C22544A-7EE6-4342-B048-85BDC9FD1C3A}</a:tableStyleId>
              </a:tblPr>
              <a:tblGrid>
                <a:gridCol w="1143000"/>
                <a:gridCol w="3048000"/>
                <a:gridCol w="914400"/>
                <a:gridCol w="3200400"/>
              </a:tblGrid>
              <a:tr h="304800">
                <a:tc>
                  <a:txBody>
                    <a:bodyPr/>
                    <a:lstStyle/>
                    <a:p>
                      <a:pPr algn="ctr"/>
                      <a:r>
                        <a:rPr lang="en-US" sz="1200" dirty="0" smtClean="0">
                          <a:solidFill>
                            <a:schemeClr val="tx1"/>
                          </a:solidFill>
                        </a:rPr>
                        <a:t>Tool</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Observation / Learning</a:t>
                      </a:r>
                      <a:endParaRPr lang="en-US" sz="1200" dirty="0">
                        <a:solidFill>
                          <a:schemeClr val="tx1"/>
                        </a:solidFill>
                      </a:endParaRPr>
                    </a:p>
                  </a:txBody>
                  <a:tcPr anchor="ctr">
                    <a:lnR w="12700" cmpd="sng">
                      <a:noFill/>
                    </a:lnR>
                    <a:lnB w="28575" cap="flat" cmpd="sng" algn="ctr">
                      <a:solidFill>
                        <a:schemeClr val="accent1"/>
                      </a:solidFill>
                      <a:prstDash val="solid"/>
                      <a:round/>
                      <a:headEnd type="none" w="med" len="med"/>
                      <a:tailEnd type="none" w="med" len="med"/>
                    </a:lnB>
                    <a:noFill/>
                  </a:tcPr>
                </a:tc>
                <a:tc>
                  <a:txBody>
                    <a:bodyPr/>
                    <a:lstStyle/>
                    <a:p>
                      <a:pPr algn="ctr"/>
                      <a:endParaRPr lang="en-US" sz="1200" dirty="0">
                        <a:solidFill>
                          <a:schemeClr val="tx1"/>
                        </a:solidFill>
                      </a:endParaRPr>
                    </a:p>
                  </a:txBody>
                  <a:tcPr anchor="ctr">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1"/>
                          </a:solidFill>
                        </a:rPr>
                        <a:t>Changes</a:t>
                      </a:r>
                      <a:endParaRPr lang="en-US" sz="1200" dirty="0">
                        <a:solidFill>
                          <a:schemeClr val="tx1"/>
                        </a:solidFill>
                      </a:endParaRPr>
                    </a:p>
                  </a:txBody>
                  <a:tcPr anchor="ctr">
                    <a:lnL w="12700" cmpd="sng">
                      <a:noFill/>
                    </a:lnL>
                    <a:lnB w="28575" cap="flat" cmpd="sng" algn="ctr">
                      <a:solidFill>
                        <a:schemeClr val="accent1"/>
                      </a:solidFill>
                      <a:prstDash val="solid"/>
                      <a:round/>
                      <a:headEnd type="none" w="med" len="med"/>
                      <a:tailEnd type="none" w="med" len="med"/>
                    </a:lnB>
                    <a:noFill/>
                  </a:tcPr>
                </a:tc>
              </a:tr>
              <a:tr h="0">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dirty="0">
                        <a:solidFill>
                          <a:schemeClr val="tx1"/>
                        </a:solidFill>
                      </a:endParaRPr>
                    </a:p>
                  </a:txBody>
                  <a:tcPr>
                    <a:lnR w="12700" cmpd="sng">
                      <a:noFill/>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b="0" dirty="0">
                        <a:solidFill>
                          <a:schemeClr val="tx1"/>
                        </a:solidFill>
                      </a:endParaRPr>
                    </a:p>
                  </a:txBody>
                  <a:tcPr>
                    <a:lnL w="12700" cmpd="sng">
                      <a:noFill/>
                    </a:lnL>
                    <a:lnR w="12700" cmpd="sng">
                      <a:noFill/>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400" b="0" dirty="0">
                        <a:solidFill>
                          <a:schemeClr val="tx1"/>
                        </a:solidFill>
                      </a:endParaRPr>
                    </a:p>
                  </a:txBody>
                  <a:tcPr>
                    <a:lnL w="12700" cmpd="sng">
                      <a:noFill/>
                    </a:lnL>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r>
              <a:tr h="867881">
                <a:tc rowSpan="3">
                  <a:txBody>
                    <a:bodyPr/>
                    <a:lstStyle/>
                    <a:p>
                      <a:r>
                        <a:rPr lang="en-US" sz="1200" b="1" dirty="0" smtClean="0">
                          <a:solidFill>
                            <a:schemeClr val="bg2"/>
                          </a:solidFill>
                        </a:rPr>
                        <a:t>Jobs</a:t>
                      </a:r>
                      <a:r>
                        <a:rPr lang="en-US" sz="1200" b="1" baseline="0" dirty="0" smtClean="0">
                          <a:solidFill>
                            <a:schemeClr val="bg2"/>
                          </a:solidFill>
                        </a:rPr>
                        <a:t> Explorer</a:t>
                      </a:r>
                      <a:endParaRPr lang="en-US" sz="1200" b="1" dirty="0">
                        <a:solidFill>
                          <a:schemeClr val="bg2"/>
                        </a:solidFill>
                      </a:endParaRPr>
                    </a:p>
                  </a:txBody>
                  <a:tcPr anchor="ct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3"/>
                    </a:solidFill>
                  </a:tcPr>
                </a:tc>
                <a:tc>
                  <a:txBody>
                    <a:bodyPr/>
                    <a:lstStyle/>
                    <a:p>
                      <a:r>
                        <a:rPr lang="en-US" sz="1200" dirty="0" smtClean="0">
                          <a:solidFill>
                            <a:schemeClr val="tx1"/>
                          </a:solidFill>
                        </a:rPr>
                        <a:t>Lesson #1</a:t>
                      </a:r>
                      <a:endParaRPr lang="en-US" sz="1200" dirty="0">
                        <a:solidFill>
                          <a:schemeClr val="tx1"/>
                        </a:solidFill>
                      </a:endParaRPr>
                    </a:p>
                  </a:txBody>
                  <a:tcPr>
                    <a:lnR w="12700" cmpd="sng">
                      <a:noFill/>
                    </a:ln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808185">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dirty="0" smtClean="0">
                          <a:solidFill>
                            <a:schemeClr val="tx1"/>
                          </a:solidFill>
                        </a:rPr>
                        <a:t>Lesson #2</a:t>
                      </a:r>
                      <a:endParaRPr lang="en-US" sz="1200" dirty="0">
                        <a:solidFill>
                          <a:schemeClr val="tx1"/>
                        </a:solidFill>
                      </a:endParaRPr>
                    </a:p>
                  </a:txBody>
                  <a:tcPr>
                    <a:lnR w="12700" cmpd="sng">
                      <a:noFill/>
                    </a:ln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844922">
                <a:tc vMerge="1">
                  <a:txBody>
                    <a:bodyPr/>
                    <a:lstStyle/>
                    <a:p>
                      <a:endParaRPr lang="en-US" sz="1200" b="1" dirty="0">
                        <a:solidFill>
                          <a:schemeClr val="bg2"/>
                        </a:solidFill>
                      </a:endParaRPr>
                    </a:p>
                  </a:txBody>
                  <a:tcPr anchor="ct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solidFill>
                  </a:tcPr>
                </a:tc>
                <a:tc>
                  <a:txBody>
                    <a:bodyPr/>
                    <a:lstStyle/>
                    <a:p>
                      <a:r>
                        <a:rPr lang="en-US" sz="1200" dirty="0" smtClean="0">
                          <a:solidFill>
                            <a:schemeClr val="tx1"/>
                          </a:solidFill>
                        </a:rPr>
                        <a:t>Lesson #2</a:t>
                      </a:r>
                      <a:endParaRPr lang="en-US" sz="1200" dirty="0">
                        <a:solidFill>
                          <a:schemeClr val="tx1"/>
                        </a:solidFill>
                      </a:endParaRPr>
                    </a:p>
                  </a:txBody>
                  <a:tcPr>
                    <a:lnR w="12700" cmpd="sng">
                      <a:noFill/>
                    </a:ln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918393">
                <a:tc rowSpan="3">
                  <a:txBody>
                    <a:bodyPr/>
                    <a:lstStyle/>
                    <a:p>
                      <a:r>
                        <a:rPr lang="en-US" sz="1200" b="1" dirty="0" smtClean="0">
                          <a:solidFill>
                            <a:schemeClr val="bg2"/>
                          </a:solidFill>
                        </a:rPr>
                        <a:t>BLS Comparison</a:t>
                      </a:r>
                      <a:endParaRPr lang="en-US" sz="1200" b="1" dirty="0">
                        <a:solidFill>
                          <a:schemeClr val="bg2"/>
                        </a:solidFill>
                      </a:endParaRPr>
                    </a:p>
                  </a:txBody>
                  <a:tcPr anchor="ctr">
                    <a:lnT w="28575" cap="flat" cmpd="sng" algn="ctr">
                      <a:solidFill>
                        <a:schemeClr val="bg1"/>
                      </a:solidFill>
                      <a:prstDash val="solid"/>
                      <a:round/>
                      <a:headEnd type="none" w="med" len="med"/>
                      <a:tailEnd type="none" w="med" len="med"/>
                    </a:lnT>
                    <a:solidFill>
                      <a:schemeClr val="accent1"/>
                    </a:solidFill>
                  </a:tcPr>
                </a:tc>
                <a:tc>
                  <a:txBody>
                    <a:bodyPr/>
                    <a:lstStyle/>
                    <a:p>
                      <a:r>
                        <a:rPr lang="en-US" sz="1200" dirty="0" smtClean="0">
                          <a:solidFill>
                            <a:schemeClr val="tx1"/>
                          </a:solidFill>
                        </a:rPr>
                        <a:t>Lesson #1</a:t>
                      </a:r>
                      <a:endParaRPr lang="en-US" sz="1200" dirty="0">
                        <a:solidFill>
                          <a:schemeClr val="tx1"/>
                        </a:solidFill>
                      </a:endParaRPr>
                    </a:p>
                  </a:txBody>
                  <a:tcPr>
                    <a:lnR w="12700" cmpd="sng">
                      <a:noFill/>
                    </a:ln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solidFill>
                        <a:schemeClr val="bg2">
                          <a:lumMod val="85000"/>
                        </a:schemeClr>
                      </a:solid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619915">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dirty="0" smtClean="0">
                          <a:solidFill>
                            <a:schemeClr val="tx1"/>
                          </a:solidFill>
                        </a:rPr>
                        <a:t>Lesson #2</a:t>
                      </a:r>
                      <a:endParaRPr lang="en-US" sz="1200" dirty="0">
                        <a:solidFill>
                          <a:schemeClr val="tx1"/>
                        </a:solidFill>
                      </a:endParaRPr>
                    </a:p>
                  </a:txBody>
                  <a:tcPr>
                    <a:lnR w="12700" cmpd="sng">
                      <a:noFill/>
                    </a:ln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817504">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dirty="0" smtClean="0">
                          <a:solidFill>
                            <a:schemeClr val="tx1"/>
                          </a:solidFill>
                        </a:rPr>
                        <a:t>Lesson #3</a:t>
                      </a:r>
                      <a:endParaRPr lang="en-US" sz="1200" dirty="0">
                        <a:solidFill>
                          <a:schemeClr val="bg1">
                            <a:lumMod val="50000"/>
                          </a:schemeClr>
                        </a:solidFill>
                      </a:endParaRPr>
                    </a:p>
                  </a:txBody>
                  <a:tcPr>
                    <a:lnR w="12700" cmpd="sng">
                      <a:noFill/>
                    </a:lnR>
                    <a:lnT w="12700" cap="flat" cmpd="sng" algn="ctr">
                      <a:solidFill>
                        <a:schemeClr val="bg2">
                          <a:lumMod val="85000"/>
                        </a:schemeClr>
                      </a:solidFill>
                      <a:prstDash val="dash"/>
                      <a:round/>
                      <a:headEnd type="none" w="med" len="med"/>
                      <a:tailEnd type="none" w="med" len="med"/>
                    </a:lnT>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noFill/>
                  </a:tcPr>
                </a:tc>
              </a:tr>
            </a:tbl>
          </a:graphicData>
        </a:graphic>
      </p:graphicFrame>
      <p:sp>
        <p:nvSpPr>
          <p:cNvPr id="5" name="Isosceles Triangle 4"/>
          <p:cNvSpPr/>
          <p:nvPr/>
        </p:nvSpPr>
        <p:spPr>
          <a:xfrm rot="5400000">
            <a:off x="3962400" y="2514600"/>
            <a:ext cx="2133600" cy="304800"/>
          </a:xfrm>
          <a:prstGeom prst="triangle">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Isosceles Triangle 9"/>
          <p:cNvSpPr/>
          <p:nvPr/>
        </p:nvSpPr>
        <p:spPr>
          <a:xfrm rot="5400000">
            <a:off x="3962400" y="5105400"/>
            <a:ext cx="2133600" cy="304800"/>
          </a:xfrm>
          <a:prstGeom prst="triangle">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684773" y="4572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V / RR</a:t>
            </a:r>
            <a:endParaRPr lang="en-US" dirty="0">
              <a:solidFill>
                <a:schemeClr val="tx1"/>
              </a:solidFill>
            </a:endParaRPr>
          </a:p>
        </p:txBody>
      </p:sp>
    </p:spTree>
    <p:extLst>
      <p:ext uri="{BB962C8B-B14F-4D97-AF65-F5344CB8AC3E}">
        <p14:creationId xmlns:p14="http://schemas.microsoft.com/office/powerpoint/2010/main" val="26713704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381722"/>
            <a:ext cx="8229600" cy="761278"/>
          </a:xfrm>
        </p:spPr>
        <p:txBody>
          <a:bodyPr/>
          <a:lstStyle/>
          <a:p>
            <a:r>
              <a:rPr lang="en-US" b="1" dirty="0" smtClean="0"/>
              <a:t>We used </a:t>
            </a:r>
            <a:r>
              <a:rPr lang="en-US" b="1" dirty="0" err="1" smtClean="0"/>
              <a:t>MoSCoW</a:t>
            </a:r>
            <a:r>
              <a:rPr lang="en-US" b="1" dirty="0" smtClean="0"/>
              <a:t> method to prioritize our changes</a:t>
            </a:r>
            <a:br>
              <a:rPr lang="en-US" b="1" dirty="0" smtClean="0"/>
            </a:br>
            <a:r>
              <a:rPr lang="en-US" sz="2000" dirty="0" smtClean="0"/>
              <a:t>Parallel development tracks for Jobs </a:t>
            </a:r>
            <a:r>
              <a:rPr lang="en-US" sz="2000" dirty="0" err="1" smtClean="0"/>
              <a:t>Exploer</a:t>
            </a:r>
            <a:r>
              <a:rPr lang="en-US" sz="2000" dirty="0" smtClean="0"/>
              <a:t> and BLS Comparison</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3044903292"/>
              </p:ext>
            </p:extLst>
          </p:nvPr>
        </p:nvGraphicFramePr>
        <p:xfrm>
          <a:off x="304800" y="1446357"/>
          <a:ext cx="8610603" cy="4802043"/>
        </p:xfrm>
        <a:graphic>
          <a:graphicData uri="http://schemas.openxmlformats.org/drawingml/2006/table">
            <a:tbl>
              <a:tblPr firstRow="1" bandRow="1">
                <a:tableStyleId>{5C22544A-7EE6-4342-B048-85BDC9FD1C3A}</a:tableStyleId>
              </a:tblPr>
              <a:tblGrid>
                <a:gridCol w="1447803">
                  <a:extLst>
                    <a:ext uri="{9D8B030D-6E8A-4147-A177-3AD203B41FA5}">
                      <a16:colId xmlns:a16="http://schemas.microsoft.com/office/drawing/2014/main" xmlns="" val="20000"/>
                    </a:ext>
                  </a:extLst>
                </a:gridCol>
                <a:gridCol w="76200"/>
                <a:gridCol w="3200400">
                  <a:extLst>
                    <a:ext uri="{9D8B030D-6E8A-4147-A177-3AD203B41FA5}">
                      <a16:colId xmlns:a16="http://schemas.microsoft.com/office/drawing/2014/main" xmlns="" val="20001"/>
                    </a:ext>
                  </a:extLst>
                </a:gridCol>
                <a:gridCol w="228600"/>
                <a:gridCol w="3657600"/>
              </a:tblGrid>
              <a:tr h="239493">
                <a:tc>
                  <a:txBody>
                    <a:bodyPr/>
                    <a:lstStyle/>
                    <a:p>
                      <a:pPr algn="ctr"/>
                      <a:r>
                        <a:rPr lang="en-US" sz="1400" b="1" dirty="0" smtClean="0">
                          <a:solidFill>
                            <a:schemeClr val="tx1"/>
                          </a:solidFill>
                        </a:rPr>
                        <a:t>Priority</a:t>
                      </a:r>
                      <a:endParaRPr lang="en-US" sz="1400" b="1" dirty="0">
                        <a:solidFill>
                          <a:schemeClr val="tx1"/>
                        </a:solidFill>
                      </a:endParaRPr>
                    </a:p>
                  </a:txBody>
                  <a:tcPr anchor="b">
                    <a:lnB w="12700" cap="flat" cmpd="sng" algn="ctr">
                      <a:solidFill>
                        <a:schemeClr val="accent1"/>
                      </a:solidFill>
                      <a:prstDash val="solid"/>
                      <a:round/>
                      <a:headEnd type="none" w="med" len="med"/>
                      <a:tailEnd type="none" w="med" len="med"/>
                    </a:lnB>
                    <a:noFill/>
                  </a:tcPr>
                </a:tc>
                <a:tc>
                  <a:txBody>
                    <a:bodyPr/>
                    <a:lstStyle/>
                    <a:p>
                      <a:pPr algn="ctr"/>
                      <a:endParaRPr lang="en-US" sz="1400" b="1" dirty="0">
                        <a:solidFill>
                          <a:schemeClr val="tx1"/>
                        </a:solidFill>
                      </a:endParaRPr>
                    </a:p>
                  </a:txBody>
                  <a:tcPr marL="18288" marR="18288" anchor="b">
                    <a:lnB w="28575" cap="flat" cmpd="sng" algn="ctr">
                      <a:solidFill>
                        <a:schemeClr val="bg2"/>
                      </a:solidFill>
                      <a:prstDash val="solid"/>
                      <a:round/>
                      <a:headEnd type="none" w="med" len="med"/>
                      <a:tailEnd type="none" w="med" len="med"/>
                    </a:lnB>
                    <a:noFill/>
                  </a:tcPr>
                </a:tc>
                <a:tc>
                  <a:txBody>
                    <a:bodyPr/>
                    <a:lstStyle/>
                    <a:p>
                      <a:pPr algn="ctr"/>
                      <a:r>
                        <a:rPr lang="en-US" sz="1400" b="1" dirty="0" smtClean="0">
                          <a:solidFill>
                            <a:schemeClr val="tx1"/>
                          </a:solidFill>
                        </a:rPr>
                        <a:t>Jobs Explorer</a:t>
                      </a:r>
                      <a:endParaRPr lang="en-US" sz="1400" b="1" dirty="0">
                        <a:solidFill>
                          <a:schemeClr val="tx1"/>
                        </a:solidFill>
                      </a:endParaRPr>
                    </a:p>
                  </a:txBody>
                  <a:tcPr anchor="b">
                    <a:lnR w="12700" cmpd="sng">
                      <a:noFill/>
                    </a:lnR>
                    <a:lnB w="12700" cap="flat" cmpd="sng" algn="ctr">
                      <a:solidFill>
                        <a:schemeClr val="accent1"/>
                      </a:solidFill>
                      <a:prstDash val="solid"/>
                      <a:round/>
                      <a:headEnd type="none" w="med" len="med"/>
                      <a:tailEnd type="none" w="med" len="med"/>
                    </a:lnB>
                    <a:noFill/>
                  </a:tcPr>
                </a:tc>
                <a:tc>
                  <a:txBody>
                    <a:bodyPr/>
                    <a:lstStyle/>
                    <a:p>
                      <a:pPr algn="ctr"/>
                      <a:endParaRPr lang="en-US" sz="1400" b="1" dirty="0">
                        <a:solidFill>
                          <a:schemeClr val="tx1"/>
                        </a:solidFill>
                      </a:endParaRP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smtClean="0">
                          <a:solidFill>
                            <a:schemeClr val="tx1"/>
                          </a:solidFill>
                        </a:rPr>
                        <a:t>BLS Comparison</a:t>
                      </a:r>
                      <a:endParaRPr lang="en-US" sz="1400" b="1" dirty="0">
                        <a:solidFill>
                          <a:schemeClr val="tx1"/>
                        </a:solidFill>
                      </a:endParaRPr>
                    </a:p>
                  </a:txBody>
                  <a:tcPr anchor="b">
                    <a:lnL w="12700" cmpd="sng">
                      <a:noFill/>
                    </a:lnL>
                    <a:lnR w="12700" cmpd="sng">
                      <a:noFill/>
                    </a:ln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xmlns="" val="10000"/>
                  </a:ext>
                </a:extLst>
              </a:tr>
              <a:tr h="11974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400" b="1"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400" dirty="0" smtClean="0"/>
                    </a:p>
                  </a:txBody>
                  <a:tcPr marL="18288" marR="18288">
                    <a:lnT w="285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xmlns="" val="10002"/>
                  </a:ext>
                </a:extLst>
              </a:tr>
              <a:tr h="774721">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Must Have</a:t>
                      </a:r>
                    </a:p>
                  </a:txBody>
                  <a:tcPr anchor="ctr">
                    <a:lnT w="28575"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75000"/>
                      </a:schemeClr>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1075338">
                <a:tc>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600" b="1" dirty="0" smtClean="0">
                          <a:solidFill>
                            <a:schemeClr val="tx1"/>
                          </a:solidFill>
                        </a:rPr>
                        <a:t>Should Have</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60000"/>
                        <a:lumOff val="40000"/>
                      </a:schemeClr>
                    </a:solidFill>
                  </a:tcPr>
                </a:tc>
                <a:tc>
                  <a:txBody>
                    <a:bodyPr/>
                    <a:lstStyle/>
                    <a:p>
                      <a:pPr marL="171450" indent="-171450">
                        <a:buFont typeface="Arial"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indent="0">
                        <a:buFont typeface="Arial" panose="020B0604020202020204" pitchFamily="34" charset="0"/>
                        <a:buNone/>
                      </a:pPr>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extLst>
                  <a:ext uri="{0D108BD9-81ED-4DB2-BD59-A6C34878D82A}">
                    <a16:rowId xmlns:a16="http://schemas.microsoft.com/office/drawing/2014/main" xmlns="" val="1026776849"/>
                  </a:ext>
                </a:extLst>
              </a:tr>
              <a:tr h="1247392">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tx1"/>
                          </a:solidFill>
                        </a:rPr>
                        <a:t>Could</a:t>
                      </a:r>
                      <a:r>
                        <a:rPr lang="en-US" sz="1600" b="1" baseline="0" dirty="0" smtClean="0">
                          <a:solidFill>
                            <a:schemeClr val="tx1"/>
                          </a:solidFill>
                        </a:rPr>
                        <a:t> Have</a:t>
                      </a:r>
                      <a:endParaRPr lang="en-US" sz="1600" b="0" dirty="0" smtClean="0">
                        <a:solidFill>
                          <a:schemeClr val="tx1"/>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40000"/>
                        <a:lumOff val="6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r h="1247392">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tx1"/>
                          </a:solidFill>
                        </a:rPr>
                        <a:t>Won’t Have</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Company</a:t>
                      </a:r>
                      <a:r>
                        <a:rPr lang="en-US" sz="1400" b="0" kern="1200" baseline="0" dirty="0" smtClean="0">
                          <a:solidFill>
                            <a:schemeClr val="dk1"/>
                          </a:solidFill>
                          <a:latin typeface="Arial" panose="020B0604020202020204" pitchFamily="34" charset="0"/>
                          <a:ea typeface="+mn-ea"/>
                          <a:cs typeface="Arial" panose="020B0604020202020204" pitchFamily="34" charset="0"/>
                        </a:rPr>
                        <a:t> Size</a:t>
                      </a:r>
                      <a:endParaRPr lang="en-US" sz="1400" b="0" kern="1200" dirty="0" smtClean="0">
                        <a:solidFill>
                          <a:schemeClr val="dk1"/>
                        </a:solidFill>
                        <a:latin typeface="Arial" panose="020B0604020202020204" pitchFamily="34" charset="0"/>
                        <a:ea typeface="+mn-ea"/>
                        <a:cs typeface="Arial" panose="020B0604020202020204" pitchFamily="34" charset="0"/>
                      </a:endParaRP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 name="Rectangle 6"/>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UX Testing</a:t>
            </a:r>
            <a:endParaRPr lang="en-US" sz="1200" b="1" dirty="0"/>
          </a:p>
        </p:txBody>
      </p:sp>
      <p:pic>
        <p:nvPicPr>
          <p:cNvPr id="9"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7684773" y="4572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V / RR</a:t>
            </a:r>
            <a:endParaRPr lang="en-US" dirty="0">
              <a:solidFill>
                <a:schemeClr val="tx1"/>
              </a:solidFill>
            </a:endParaRPr>
          </a:p>
        </p:txBody>
      </p:sp>
    </p:spTree>
    <p:extLst>
      <p:ext uri="{BB962C8B-B14F-4D97-AF65-F5344CB8AC3E}">
        <p14:creationId xmlns:p14="http://schemas.microsoft.com/office/powerpoint/2010/main" val="29973502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5813044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36013" y="152400"/>
            <a:ext cx="8229600" cy="761278"/>
          </a:xfrm>
        </p:spPr>
        <p:txBody>
          <a:bodyPr/>
          <a:lstStyle/>
          <a:p>
            <a:r>
              <a:rPr lang="en-US" b="1" dirty="0" smtClean="0"/>
              <a:t>Based on user testing, we made multiple iterations on our visualizations (I)</a:t>
            </a:r>
            <a:br>
              <a:rPr lang="en-US" b="1" dirty="0" smtClean="0"/>
            </a:br>
            <a:r>
              <a:rPr lang="en-US" sz="2000" dirty="0" smtClean="0"/>
              <a:t>Jobs Explorer</a:t>
            </a:r>
            <a:endParaRPr lang="en-US" sz="2000" dirty="0"/>
          </a:p>
        </p:txBody>
      </p:sp>
      <p:pic>
        <p:nvPicPr>
          <p:cNvPr id="13"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8600" y="4495800"/>
            <a:ext cx="2717386" cy="189716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4233" y="2557272"/>
            <a:ext cx="3068955" cy="2165985"/>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895600" y="1100137"/>
            <a:ext cx="3126105" cy="2100263"/>
          </a:xfrm>
          <a:prstGeom prst="rect">
            <a:avLst/>
          </a:prstGeom>
        </p:spPr>
      </p:pic>
      <p:pic>
        <p:nvPicPr>
          <p:cNvPr id="35843" name="Picture 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257800" y="2557272"/>
            <a:ext cx="2599388" cy="216712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5842"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324600" y="4267200"/>
            <a:ext cx="2679178" cy="216712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6991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152400"/>
            <a:ext cx="8229600" cy="761278"/>
          </a:xfrm>
        </p:spPr>
        <p:txBody>
          <a:bodyPr/>
          <a:lstStyle/>
          <a:p>
            <a:r>
              <a:rPr lang="en-US" b="1" dirty="0" smtClean="0"/>
              <a:t>Based on user testing, we made multiple iterations on our visualizations (II)</a:t>
            </a:r>
            <a:br>
              <a:rPr lang="en-US" b="1" dirty="0" smtClean="0"/>
            </a:br>
            <a:r>
              <a:rPr lang="en-US" sz="2000" dirty="0" smtClean="0"/>
              <a:t>BLS Comparison</a:t>
            </a:r>
            <a:endParaRPr lang="en-US" sz="2000" dirty="0"/>
          </a:p>
        </p:txBody>
      </p:sp>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1524000"/>
            <a:ext cx="3886742" cy="291505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7684773" y="6096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RR</a:t>
            </a:r>
            <a:endParaRPr lang="en-US" dirty="0">
              <a:solidFill>
                <a:schemeClr val="tx1"/>
              </a:solidFill>
            </a:endParaRPr>
          </a:p>
        </p:txBody>
      </p:sp>
    </p:spTree>
    <p:extLst>
      <p:ext uri="{BB962C8B-B14F-4D97-AF65-F5344CB8AC3E}">
        <p14:creationId xmlns:p14="http://schemas.microsoft.com/office/powerpoint/2010/main" val="3550911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Our updated </a:t>
            </a:r>
            <a:r>
              <a:rPr lang="en-US" b="1" dirty="0" smtClean="0"/>
              <a:t>visualization</a:t>
            </a:r>
            <a:br>
              <a:rPr lang="en-US" b="1" dirty="0" smtClean="0"/>
            </a:br>
            <a:r>
              <a:rPr lang="en-US" sz="2000" dirty="0"/>
              <a:t>http://spadela.pythonanywhere.com</a:t>
            </a:r>
            <a:r>
              <a:rPr lang="en-US" sz="2000" dirty="0" smtClean="0"/>
              <a:t>/</a:t>
            </a:r>
            <a:endParaRPr lang="en-US" dirty="0"/>
          </a:p>
        </p:txBody>
      </p:sp>
      <p:sp>
        <p:nvSpPr>
          <p:cNvPr id="4" name="Rectangle 3"/>
          <p:cNvSpPr/>
          <p:nvPr/>
        </p:nvSpPr>
        <p:spPr>
          <a:xfrm>
            <a:off x="7467600" y="76200"/>
            <a:ext cx="1594104" cy="304800"/>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Visualization</a:t>
            </a:r>
            <a:endParaRPr lang="en-US" sz="1200" b="1" dirty="0"/>
          </a:p>
        </p:txBody>
      </p:sp>
      <p:pic>
        <p:nvPicPr>
          <p:cNvPr id="6" name="Picture 20" descr="http://28htv21jkhic1fkybe2p0zo3lka.wpengine.netdna-cdn.com/wp-content/uploads/2014/09/requestdemo_icon_v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67687" y="152400"/>
            <a:ext cx="239003" cy="19224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990600" y="2438400"/>
            <a:ext cx="7162800" cy="2438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DD IN A SCREENSHOT; </a:t>
            </a:r>
          </a:p>
          <a:p>
            <a:pPr algn="ctr"/>
            <a:r>
              <a:rPr lang="en-US" dirty="0" smtClean="0"/>
              <a:t>We will Switch over to the demo at this point</a:t>
            </a:r>
            <a:endParaRPr lang="en-US" dirty="0"/>
          </a:p>
        </p:txBody>
      </p:sp>
    </p:spTree>
    <p:extLst>
      <p:ext uri="{BB962C8B-B14F-4D97-AF65-F5344CB8AC3E}">
        <p14:creationId xmlns:p14="http://schemas.microsoft.com/office/powerpoint/2010/main" val="42412020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43200"/>
            <a:ext cx="914400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t>APPENDIX</a:t>
            </a:r>
            <a:endParaRPr lang="en-US" sz="2400" b="1" dirty="0"/>
          </a:p>
        </p:txBody>
      </p:sp>
    </p:spTree>
    <p:extLst>
      <p:ext uri="{BB962C8B-B14F-4D97-AF65-F5344CB8AC3E}">
        <p14:creationId xmlns:p14="http://schemas.microsoft.com/office/powerpoint/2010/main" val="13879538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line for the final presentation</a:t>
            </a:r>
            <a:endParaRPr lang="en-US" dirty="0"/>
          </a:p>
        </p:txBody>
      </p:sp>
      <p:sp>
        <p:nvSpPr>
          <p:cNvPr id="3" name="Text Placeholder 2"/>
          <p:cNvSpPr>
            <a:spLocks noGrp="1"/>
          </p:cNvSpPr>
          <p:nvPr>
            <p:ph type="body" sz="quarter" idx="15"/>
          </p:nvPr>
        </p:nvSpPr>
        <p:spPr>
          <a:xfrm>
            <a:off x="362901" y="1039228"/>
            <a:ext cx="8323899" cy="2084972"/>
          </a:xfrm>
        </p:spPr>
        <p:txBody>
          <a:bodyPr/>
          <a:lstStyle/>
          <a:p>
            <a:r>
              <a:rPr lang="en-US" dirty="0" smtClean="0"/>
              <a:t>Project Objective and Target Users </a:t>
            </a:r>
            <a:r>
              <a:rPr lang="en-US" dirty="0" smtClean="0"/>
              <a:t>(2 </a:t>
            </a:r>
            <a:r>
              <a:rPr lang="en-US" dirty="0" smtClean="0"/>
              <a:t>mins)</a:t>
            </a:r>
          </a:p>
          <a:p>
            <a:pPr lvl="1"/>
            <a:r>
              <a:rPr lang="en-US" dirty="0" smtClean="0"/>
              <a:t>what our project is about </a:t>
            </a:r>
          </a:p>
          <a:p>
            <a:pPr lvl="1"/>
            <a:r>
              <a:rPr lang="en-US" dirty="0" smtClean="0"/>
              <a:t>target users</a:t>
            </a:r>
          </a:p>
          <a:p>
            <a:pPr lvl="1"/>
            <a:r>
              <a:rPr lang="en-US" dirty="0" smtClean="0"/>
              <a:t>Our progress as of </a:t>
            </a:r>
            <a:r>
              <a:rPr lang="en-US" dirty="0" smtClean="0"/>
              <a:t>mid-term</a:t>
            </a:r>
          </a:p>
          <a:p>
            <a:r>
              <a:rPr lang="en-US" dirty="0"/>
              <a:t>Technology stack (and rationale) used to create end product (2 mins)</a:t>
            </a:r>
          </a:p>
          <a:p>
            <a:pPr lvl="1"/>
            <a:r>
              <a:rPr lang="en-US" dirty="0" err="1"/>
              <a:t>Balsamiq</a:t>
            </a:r>
            <a:r>
              <a:rPr lang="en-US" dirty="0"/>
              <a:t> for mockups</a:t>
            </a:r>
          </a:p>
          <a:p>
            <a:pPr lvl="1"/>
            <a:r>
              <a:rPr lang="en-US" dirty="0" err="1"/>
              <a:t>Highcharts</a:t>
            </a:r>
            <a:endParaRPr lang="en-US" dirty="0"/>
          </a:p>
          <a:p>
            <a:pPr lvl="1"/>
            <a:r>
              <a:rPr lang="en-US" dirty="0"/>
              <a:t>Flask</a:t>
            </a:r>
          </a:p>
          <a:p>
            <a:pPr lvl="1"/>
            <a:r>
              <a:rPr lang="en-US" dirty="0" err="1"/>
              <a:t>Pythonanywhere</a:t>
            </a:r>
            <a:r>
              <a:rPr lang="en-US" dirty="0"/>
              <a:t> to </a:t>
            </a:r>
            <a:r>
              <a:rPr lang="en-US" dirty="0" smtClean="0"/>
              <a:t>host</a:t>
            </a:r>
            <a:endParaRPr lang="en-US" dirty="0" smtClean="0"/>
          </a:p>
          <a:p>
            <a:r>
              <a:rPr lang="en-US" dirty="0" smtClean="0"/>
              <a:t>Usability testing and prioritized changes (5 mins)</a:t>
            </a:r>
          </a:p>
          <a:p>
            <a:pPr lvl="1"/>
            <a:r>
              <a:rPr lang="en-US" dirty="0"/>
              <a:t>Users we talked </a:t>
            </a:r>
            <a:r>
              <a:rPr lang="en-US" dirty="0" smtClean="0"/>
              <a:t>to</a:t>
            </a:r>
          </a:p>
          <a:p>
            <a:pPr lvl="1"/>
            <a:r>
              <a:rPr lang="en-US" dirty="0" smtClean="0"/>
              <a:t>What we learned (details) and corresponding changes (conclusions) we made (5 mins)</a:t>
            </a:r>
          </a:p>
          <a:p>
            <a:pPr lvl="1"/>
            <a:r>
              <a:rPr lang="en-US" dirty="0" smtClean="0"/>
              <a:t>Show old version (from mid-term) with callouts showing what we changed)</a:t>
            </a:r>
          </a:p>
          <a:p>
            <a:r>
              <a:rPr lang="en-US" dirty="0" smtClean="0"/>
              <a:t>Demo of our visualization (6 mins)</a:t>
            </a:r>
          </a:p>
          <a:p>
            <a:pPr lvl="1"/>
            <a:r>
              <a:rPr lang="en-US" dirty="0" smtClean="0"/>
              <a:t>3 mins for each </a:t>
            </a:r>
            <a:r>
              <a:rPr lang="en-US" dirty="0" smtClean="0"/>
              <a:t>visualization</a:t>
            </a:r>
            <a:endParaRPr lang="en-US" dirty="0" smtClean="0"/>
          </a:p>
        </p:txBody>
      </p:sp>
    </p:spTree>
    <p:extLst>
      <p:ext uri="{BB962C8B-B14F-4D97-AF65-F5344CB8AC3E}">
        <p14:creationId xmlns:p14="http://schemas.microsoft.com/office/powerpoint/2010/main" val="15573785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4008438"/>
            <a:ext cx="8686800" cy="1143000"/>
          </a:xfrm>
        </p:spPr>
        <p:txBody>
          <a:bodyPr/>
          <a:lstStyle/>
          <a:p>
            <a:r>
              <a:rPr lang="en-US" dirty="0" err="1" smtClean="0"/>
              <a:t>Insight@ADP</a:t>
            </a:r>
            <a:r>
              <a:rPr lang="en-US" dirty="0" smtClean="0"/>
              <a:t/>
            </a:r>
            <a:br>
              <a:rPr lang="en-US" dirty="0" smtClean="0"/>
            </a:br>
            <a:r>
              <a:rPr lang="en-US" sz="3200" b="0" dirty="0" smtClean="0"/>
              <a:t>Visualizing ADP’s National Employment Report</a:t>
            </a:r>
            <a:endParaRPr lang="en-US" b="0" dirty="0"/>
          </a:p>
        </p:txBody>
      </p:sp>
      <p:sp>
        <p:nvSpPr>
          <p:cNvPr id="3" name="Text Placeholder 2"/>
          <p:cNvSpPr>
            <a:spLocks noGrp="1"/>
          </p:cNvSpPr>
          <p:nvPr>
            <p:ph type="body" sz="quarter" idx="13"/>
          </p:nvPr>
        </p:nvSpPr>
        <p:spPr/>
        <p:txBody>
          <a:bodyPr/>
          <a:lstStyle/>
          <a:p>
            <a:r>
              <a:rPr lang="en-US" dirty="0"/>
              <a:t>Saad </a:t>
            </a:r>
            <a:r>
              <a:rPr lang="en-US" dirty="0" smtClean="0"/>
              <a:t>Padela, Roiana Reid</a:t>
            </a:r>
            <a:r>
              <a:rPr lang="en-US" dirty="0"/>
              <a:t>, Amin </a:t>
            </a:r>
            <a:r>
              <a:rPr lang="en-US" dirty="0" smtClean="0"/>
              <a:t>Venjara </a:t>
            </a:r>
          </a:p>
          <a:p>
            <a:r>
              <a:rPr lang="en-US" dirty="0" smtClean="0"/>
              <a:t>August 8, 2016</a:t>
            </a:r>
            <a:endParaRPr lang="en-US" dirty="0"/>
          </a:p>
        </p:txBody>
      </p:sp>
    </p:spTree>
    <p:extLst>
      <p:ext uri="{BB962C8B-B14F-4D97-AF65-F5344CB8AC3E}">
        <p14:creationId xmlns:p14="http://schemas.microsoft.com/office/powerpoint/2010/main" val="2931886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86073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3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b="1" dirty="0" smtClean="0"/>
              <a:t>Roadmap for our presentation</a:t>
            </a:r>
            <a:endParaRPr lang="en-US" b="1" dirty="0"/>
          </a:p>
        </p:txBody>
      </p:sp>
      <p:sp>
        <p:nvSpPr>
          <p:cNvPr id="5" name="Rectangle 4"/>
          <p:cNvSpPr/>
          <p:nvPr/>
        </p:nvSpPr>
        <p:spPr>
          <a:xfrm>
            <a:off x="1219200" y="1295400"/>
            <a:ext cx="6642101" cy="1066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smtClean="0"/>
              <a:t>Project Objective and </a:t>
            </a:r>
          </a:p>
          <a:p>
            <a:pPr marL="1657350"/>
            <a:r>
              <a:rPr lang="en-US" sz="2400" b="1" dirty="0" smtClean="0"/>
              <a:t>Target Users</a:t>
            </a:r>
            <a:endParaRPr lang="en-US" sz="2400" b="1" dirty="0"/>
          </a:p>
        </p:txBody>
      </p:sp>
      <p:sp>
        <p:nvSpPr>
          <p:cNvPr id="13" name="AutoShape 4" descr="data:image/png;base64,iVBORw0KGgoAAAANSUhEUgAAAOEAAADhCAMAAAAJbSJIAAAAjVBMVEX///8AAAAEBATz8/P+/v709PQBAQH4+Pj7+/sEBAXu7u7t7e3d3d3g4ODExMQ1NTWhoaHQ0NAoKChubm69vb10dHTW1tasrKzKysoeHh5BQUEvLy+1tbWLi4tVVVU3NzeamppYWFimpqYUFBSTk5NLS0tgYGAaGhqDg4NfX1+MjIx6enpoaGhEREQqKipH3g/SAAAfSklEQVR4nL1dCXvqKhMGEyXXaOKaqHVfWltt///P+7IAgZkhi+35fO6t6ekkzAsDs0IYKz++jy6Y6+Lf03Z+XLg5CCdt8QmC8lffuGDwwm+m9d20TY/rQgub9mLOV67nlr8JeYPQF4H6C774Y1rJiIC0HR635wOeOp4rHx7AO3UrwiYhaZmT1vW4AD6uCy1ic857PX6l2SwIRF/+1u/Lh+sLTzGtLxAtJvFkK/32tJqkjtbF5jUHyO8kbSGqqo9aAYQcBV6fQVoFENPWPK57Z2RsFt9bzjOAfEnRFtAQQN/7Y4BqlUMrY6BxdeoM3XRxMS0B8icFMJditfZkrTQCJBjpOxjRtMzzwlU6uS738frC5efj7fbcTdLFOJDTpEPfVmwW32MJkN9cbPpI/l8YQQwwXyb8cJTeTzNe91mf7pPp+PURFDMJkL8NAwctuLOPxe4FEWVeks43BpJBTzLSQxfZZzNPk0Av8B3mYKYn1FP+G9YDbBbRDgDHk9tF4RoAgP8BgJrksp+MGpuGbC4VwOzLqwVYw3THOSiiuzlwECC80CTl5xEJJtr37ZUbjxuSbII7X1ETFYlg/WhZtDfoDLBC+tx6TU2ri60JkI8o2mKZ8cVvAGpaP1jN1yTTLURUX+T//jGfEqKPAa7UyJePiyiA+WJd2UC/moPhcaaa+w1A+Zf1MWSwaTgHxzbAzDDFbEqN36gmmudgMq+a+4WImutrPpA1aoIN16pF2XHHAI+2UOPIfqcmopvmy810F4DlxW3BCKZl077SRfqmr4BWq/6vRTSNcyb/cgT1RZwyu2nNJlNCUw37gznYVHe6RrBBRBcXC8afANTzNftvywhTjbEdBNjj+zqAL5pqAVscbO7/dATLi3ih7VbNJjsjgNm3YFhEFcCX5mCfJTfQyj8AmH1uK8AmizDA7Clzik0fcN8BYBAuiVb+HmA+xeceM+agPyIBZmR9HdlRLhvQ+B3moN+f0K382Ry0ac+ZMa/6NlwjWmX53R7XYxol4ThUSp6ZgZEOI8im3/8GoJP2eyqnYCDenU1z/en93N6X9+s5s3N11K2TiOKl7B8DzH7uJMBF66bzzyHT+KwzwOTnBYDo09Eo4JuSB7bp1PS3FLpOACeKx24Ae7P4sLndbt+bw0zHM1oDHPBJwUMw7tR0POwOMDw1A7QGrrdf7tJVMg69wtAP8mU/HI9W6fWxr0UKxHlVsnnsAvDU7w5wdeG4y50TYX9chIIZEWhlnUg/VwwXV9ljjZ5HWLL53QHg3C2iTjVx5G0A5t+X922i3Gy3C1RENMfbd+Uo0EwXF5LNdXuARyY1fvsRFE9OTBrYSvb/5msaVPH+NoHf1dd37QhyXvpC4lIP0JgmuUkrY95tAYYbBJAIQ/C368jxOHfgN4c+Pr7JDqKeuy7NlJDzFiOYS3zCpCr0WwMc8RYjKD3XVpEyLDzT0hKkOm5TkoyMaVInorM8SFDmZ5Qp1zgHoxYAD2e1Or+WfBEsSA8U9z3+LvtACkoDwL1QkqE1fuMInpsBnqIg+IPky+pToTDmlXRwg8qtqAO4NJtuCfBYDzDHl+QJNefj2idfWDD9hAB7pdEmxLYZIJe5RBqgS0S/mgDekm7R6toFPJtuew5aPBYk0qCqB7h9YQTvtQCzZWDVxHTn5MvqW62rZYtpSXtvAPgf71lButcBDkyAaSPT3bNLrJ+aLfbGJe2yaQRnYwug3wqgKaLQ68x+LvsGLTWvOomophVMPKoulQDZZwPA777VtK3xXXOwbpHJ9Pu0PdOdoyVJLNVfqGj3dQB5uYhWAAt9qAtAXlETnN+DBqZfKljQuQlRzjs1gixc1+R95CJqACwM/qABIKHoK0PjErHmEfwFwKDvT9eViLLhWy3ALezbIkzju1ppNtX457AFwFfmoEkbPDVAr34EpwCgtZy65mBYB/CogkPNo/JaxBLQhjM3wMw0D+sAOt2lGm/iErWJYRlavPxTs5Xoik+HcR3Ap53lbgmQYX9QPzwOA9Dl7jnI8tDFOIkWi226XSyi6dhzNu0UZ48aQbXgbSL7cW0BHt0i+tlvEWYt5pU/XByfMYeft/lkEfq6GA8lX+Bzh3gOlp/L+nZNAJJq1pUaHy/nMibjVvT3FnHk3BcaTZYfmhctUzp2e3keRyCh4hjB8I2bUrTevy/vx+1qOgoDU/QhQEddm4qquYNOx6DZQ8jGbhmbNxFhw2Iwl5HwRcMcBGoizlcVpedqKs7oujY9r05OgJMA0mKA0RxMXHdugg+eZXrJOQf7tojOPHrFhQD7dl0bDvy6AKZ+0wgOjyoS2ir5ksvrcWgkX6CI2gDf+vVGlAWQqmsr6RI1e7oDHOUWc/fcxEMnX4g5aDzuMGyw86GXQgMMnLmJSQPA8TMn7g4w+7yPqOd6NsC3ISWifleATNVuoVW0YZEJnwZt+/ygWmifIQYI5mDfZLNYRMJocrizbgB9FdJCI3ivA8jEFTDdegT1xVfoW88Nf+xV1FNNj8/H3eNzo5RR0glg0HclQD/dCWPRZwu67KsLQM5nCwtgjNREyaZKdavHfZMAYZZb5+hdKey4smRw4Z73pJluJ6KDiuQ9rNSEbarN9Bwco8edKYBWXVvFdD90ALyEbksmWLiYbpHqALQjh6k2E6rpEfFcr7muTU8nR5UFd3sTgfdwcN9FRO2gk0NNFAAHxHOfPvJSBKs0vrH+BokD4NEJ0B9v/mwEB9UIAjVhzkH8XLXYOOraLAVDFwLxT98JUFYP/MUIViELt6n2JJ9b1n25qqLMhWNBA7w4Qxa+XJj+ZA5WImovMm9e1bT4oC3KRTPA4p/JWrWiBtcxB7+6AGw9B201cQgNNn267IvH7QAuyC7nd2K0y395NANsXR1cBZ1sRf9jm2qyNhGxuUXquvjVt5m+kADfXHHR4NkeIPq4AVJqwmDTf6MA8gtcC4NS41tMp+Sk4a7IdhuAxc/Dfp455Yso2p6/5vtDPUCgJmIPNZ3QbG4BQCvLLf85pkRJRssJgM0imvXsfJLkwQYVG8qccz9MJnNdTSPn4KjRVDN4WHJC4rOZaAG0styqZtvMc2iA3JF88VssMl9JIG8CgV82nF7JEXSaaib3w6p7zKYXlnFGZblvnFjXXemzRjXR014tFdArpO3R4yD5Aky1H0E1LYKUAshvBK31W8KJonRVNOdS9C6APxOPETU1IKpW7tRoYapZALPHfRMAOZ+i2hJ77OecckzpDK8sonMB7KUBjhKRyReRmsZ2G4++eNyK9L7mMKhu3xmSwn0jAQqv1ha9+rV5DDuqJpxqwqOmv3wclUus9rCRAP0jOXvpIgS5jFIAOT+FBEfdky9vWE0Yj0vIPMbRovXtVoIZxfSJbEW4/UGZ2P998sUy1YiY8x5PE87XJi2oaxMrkumEaqU/dAM8jBsAOpMvP/w/0lQbDanAr5gSAPM0YgUQ1LXJrTaA6RMddHKFLKpcOgLYMflSmWoj/s4wwOxxJwJg1n4laCDL3V8TADOfggK4cAI8ugC2Sb6Ylkzl0Wf/tAW56jImExEA+UeoBa3Q+MadEcX0IehjgIFwRNWqXHrnOTh0mWrFhvSZIADmnh5hBi9AZ1S/kdU454Ca6Y64qPIiX8jnOz36ccn9lQLIzhyOYO8/WHJS/SYogHxIrdVhZ4BNamI4cyRfdEwmpHITyjo1APbKPV4EwLKuBJkIzGJE0j5fF1HHHIwtV6FKvlRRtScBsO8/CIDmlmCLkTtlIpAVv2OHmji+CtCZfBkbEywRCGC/TJEZ7lBxcTd0pskIxyYCf6MAZkNIAmyhJhwAXckXE6CqEgaR7TcMkHNGZrnHhA2ky6gspkdk2JAfmkbQqSZcyRcrLlruuEeh+ysBkMt9EL5d1zbBSU35UMj0gwTIGywZXU8AS8udphoM/D4IgNnADCDAXp7DYDphoZpjckO2pUE3FNNDLM495SXXAJymu9MmjuPN/r41O642+WIPj0cVb6FN3SA2XGl86rCOL4rpIwnw5ABY1tSsZDxHf0QLUw2FWY8EQLVT0KK9BGa0pPj0RUIAzFdSbNJ/kDn6GnepP6kOqWmffCHiyJcAl/4EUwww9xZ0xZkE6LGUAJh1BVFGQgIkR7tkZPJRrUylvuq5yiltUw2vIDLubsV6gg8MMJsyEGBQ+BXQin0nmPblXn8QsqA9+kxOxm81cVF38iUzsFDZTU/aHyCY9WkG1eXF3LdFNOMoP4UBmelbHzEthiCQU7af0iNYbseEAHVUDXr0Zp3MmUi+8J7AAPNDXNBob5QKruraQirWmeBIGXTtZVSNEOcC4BLTupMvVtApnAGmi6dERHZpzCHAQbks2Brf1uJS7AMsdmV+GHbGxAHwRNBWQSd7DsLky8RiWnK3pLJLklszWF9mS30zy50SAPcMz6sgJpjueUTY0GsC2JB8KaYDzE3EApu2wR4BHBQ6365ru2NHix/RqASFv43E+YFiDEVPEyLaJfmyJJIv2cRBlp+MENrpljusa8u6G7rKyle2S5on1HydkpFtYpEx1ERz8iUhckSq163OsJLWkvYTFg15cl5bVmxoMi13viwJgD2fVBN1I9gq+cLxZkqpL+zg3xAD5OvABtj3IMD/5NIMza8PHBgptD0aQUbowW7JF786uaGaQB8+HMHsZw+PNh8KC6AI8QgWCw3c+TKkIj8JBRCLc4OawDHnKQKYXVC0OmFmiPNIYpMclSeDAUdraY1geRFxDPAC84OFLfoBAQ6cppor+RL0LKbLiwXRGUucT5IGXlXXlmKAfIe99MyvwAvSHAAsaCevmGrQMJqjEcxVr1OcLZusTHlWdW0TIhaQopO2fJW1t8ykCR5B5s+gOFci6vLoEcCcK+Rrz/FWY5EigPIYDUPjU7GAlTDVRHHBYgywmIbQ4V0BgJdWpho0jBIi+CcjRyZtWQ0LxHnH7Lo2nfcngh1maIsAaAYy9Wg/wHzVCVBnnYxdnV4+LuToAALOic6wFJO8eOq6tpJujyx5GXexEyoBAfAQEPNVPUPSbhtNtRHHAJlXFqVYKwgP8GhT0c2bnq/lJ7Y5ypfIXghEtF9qceiq7KmYDEckjR49cmRYXyYIba9ujMU53/sCxTn2TYCBv7Y4KpbImYcAgjod6WwyCDAQqU2SBA2mWm7tpoHJNCsCD3MMkIqsEJu+ikRpBdBjZRjKqj+LA1tE8wuz2kbR3gMgor4X2GVnbxKgqEu+qMI5K3S/wwAzRYc8NfGGIitqvuosNxzB7OLg42j1giOA/MjACGZMn6zH7eQCf6hLvpTBOhtgvgcZBR4WKPDA+nC+9hTCqq4NA8xjpWiT8gKHFmQ2xs5NbEwSnpZ/2Vq2FYqqbTDA7BYEkG+JwMM3BCgRGlluKKI8X4zw5gV5KgX2sUDyJabs1qcpSjj5EmOAuZGI/PIUZINzJXbDAHOE5uktxApy81FCRZ+7YXZGZAKUtLHVBzJmYlZOEMmXmMgPRoRfvoUAMzZvGCBndl0bxxr/W2/vrKKvCwwQlB6XF7E1Xwszvx+8VwCp5MsBA8ylFAD8D/vlfnE8FnJbqwVJIbQBDvgGAcQl4PnFlsjRb6zHbQuOShEHppoR2d4wCNCHWqe4WACAQdEe9suBxpcyrocnMx4OyrUyAiML2BzPjX1UysVO3CT5khxt5GDQyZdTAAH25d4d22ReQBHNHkYULHBL4wv/AkZQ6kOY1IzwgpTpAlQnE9yt/nqTHIkyTbQhky9KH1oZ3h0GaJ9qXTYttKlUKbGLOYCZBK0hwFIhw+BkQrgg88Ceg/l83dokykth6fP03DI8B40VxFrA5xhgtjIDES2CIsgvlzaN1vgxApjbpa3CyzKqatXJjGyBucnWVGUOlXwhM7x7wm0dI4BsjLS0ykhXdW17BDA3cVFaui9ZNmhz3wKLM2huWzHtAsgJgNn8wjLj9W0RzRakBAFU+cxS4+c3LDFAPsJ7DdWKZM7XQt3BOMvDbG5QeMlAINqksKlTOTiDgQdPjDDA4nlmlvuKAWazB4WXgY8/UNyjUi7jsILicb2E2SOY9ABHKwyw8PEhwFhJvHHkxhQDzGssrLq2CYcABzLdbwdR5hhgpi6IKguV9dX9JQ8flwBTyNHMJ3L0R8IMVilEkzbFAItkkZkjTYl43A4DLCL1cLTneL6K4GgDzH7eiuKjYlJMb0jrTKg9vE/VTRVtGfcCTs+OMDp1HE12rNwqZVnySwywrAwDnXEZYnEOxIcFsLjn52ubjKbb3Q/u8rUgihCGeImEZnB5scQAeSRMgGpfrB3s2GOARcwbifOUEOfi2HQcKVMfyNGZAChLlgHtEAUerE0iWuOPzSx3Hl7GAPO8BQpk+h+EOF8JgHneAgHES7+8iHGsJ7OUrjbTBe2a8MtFZVVXe8gkv74EmEdwcbgq9CFAFsA6hYF2NiHtGIcCXQAtLV5JPAGwSALjd3lAgL1i5WJWlvuEAZretA4vT2ySSl/gWPsRdwZKCZQXZ5868SyhaM848ED65Z8FiXl6C1F6ya8BYFp45Zn2kOkHFZfvg5Q/jmEpjpZEIZCQJcuQdoRHO7gigOWGUFXXVtKluJRLWZxWaCuIiVHphVQteOFEtRDRT/qFfF6PoI31EcuVhmJ7DDBXv6CuTR3WgsNVIHa3JMSOq3PNNK1cGU/8ZYBlWgbetAwQQBwozFscwSy3gLu0ihtGGKAdHFKj/SOozsieq16W4ga4dADM36iGbTZZht88X0NmA8xm7wYDzF0CHH3tUXVtjtJLY2WS7cN5dabnYFn+gjy1niBogc1WMLWBh5t4vl3XJm/4JJg26trM9gMsojLVEdfpwTG5iuZf2K3Qm3WBp3bCAPnchyNY9ARazj+8PgTYh5ujJO0X0RmS6bM+cB2aamf3Wz93BEC53xqK84UQ51QFCkuNX7SSVB1Qif0qIJj+wCPIc6XtAFi9z8tyePlsIihLpnxKyFHwL/v+oGinBDPKkCw1vjy9JbfHULDjCzKdmxNHSnkTJWIGI7hG+LGi3CXtSKN8ZtHiEYsoOdr8Q60DVZablS/VhT29oZgeEqOtFpua96smeZ33IT5sTrLOu4YWlV6WXeoRAP0NppXdbZ/e4gt8rlDP8co9mMKWF2PXCJYXVam+/HYD1Cck2QAfZMcRtKXzrrLcytES6OUf+cWVmlcJeKa8iEmALU7GQ53xRgI0tXhVeglfeVPQjpkRWSlbyceeYFoHcy232n9SAHNn33XGJF5oawBWrr0N8EltuunPCNoeM+LTRit3ykyaUscqjkmA6qBigulOAL9ogNnA4OdCL7mkvRt9a7YSUUzPIdPF2D8pgD1OxkW7AkwdAOcEwGpjr0UbGW8RNFsxXGWDaWExIuXEebxw9PIcVF0OnT2tmELiqLhAkLSiestL4V2oO/E7BfMbUmaHtkrSK+6M8uER+90IOgFeycP+zhTtsjpE0z6vjXgbVi9PXOIEqPHuM2wvNZ6f/IqI8hkR0BNlHRCijfRog/PahNrLbTNtjEoV2ZaHfiCLd8B1XOoFNeFcZLIZTnZcRNGu1V7uQGa5jTuLakfo35zoF4M/bVrDz52/CjBwqIns806fpLanaOc+aNr4bUoA5FU41GJa0ADzi3hMbeFvBDhyKPr8Q5+klpC0K0Br/TZDm40GqpQH7eGNOBJR3coEx7AaAZ65G+CCBFgcbgJoB3xWBxCnQgqxS5i5yOg7H5ojGBeVZ5t0EdFw7wQ4UK+JhQCp7QoyseECGIRkKzfCpM/sJaHe00cGfr+I83ecAPNCONKb4EZVSJsC9p4+0kpFbcGdtImQSTa5STmsAZh9jHc/1QMsikrcAMsyUAww4gMEUGbfqjErY97GnQnZyqZKwFutrOoA5l681wKgl0cAYKTKlPgVDVA7hnbTiQWQeCvZjZzpVLI0/6R8UJub6C2TarM4kV3yWbLsEQt49biB9KyxAXEmX9FmJ8yot5LlQ4/uhMJd5SaI89psXrMJOQ1ogGy4utq0FEBlQMCm1ZIB4tORtVSUGh/cGRNjPyjCeGRu4t4AMP/q5Wfu6V2rZb+GyfGJTVu8cNwdABmRBBsUXjhe3+w7gzN5Z6b2HYbmvFXypTg3cTfZLqJtOtmpcxNpWhOg8zRDImmdX2ypzgBMlwXRKDfxJujkSw5x4B5Bcyjtj7MzTBF1ARQeeWYXv7QAGBTVeUTy5e5IvlSavw5g62ywBdAlokIWziE2F9hcpEblQADsqUWbiGzL/F0XgBQJVhOuRUaIiAZInPgENX7B9ILm6CJogH16X1i7EXSLKHeqCdH36JlEJK2hxpdid0OVucXFuyv5kqn+ARXVaB7BGoA9h6LPF/BPur9uOCtf1bWZo6J2NiKOqo1xSLeFxAkjv5iDmRnlMNWYegcisVRMkUfjeiuZTsADRtSxFETgV/TvTaPSYQ5y/nCHQvRuUGgl4iOtrCy3Ffj1aI7Ukd50ZDuimH5xBB3+YH7hF5VSxAjKLQGET0oxfXZMmpgUUcmIeBLhyBfmIH+veZ2bz95IgLrQEGszelRudPIlL1NxJ1/YljzLouMIztQBgrQR9UkC7Kk65HYjyND2uuri7pMiWl74xTtKauZgC4DXYW048u4AKIuoGwFWyZcvmhEqN2EFfsv3zLw8gvMwqH0Z2NHxOPpQMlb7VjKiRDK/kPJek3wZvevx7wowf9NhbVJnwskR7MndwVhdO95K1ne+Q6K4SN0jmF8I+b6nbgCzn48Ro5IvBsDUBZA+dc31VjIVdNKF0WjhSHFuAlh+w6Ouv2jlWnH+cSS2d7QEqDfMI4D2W8lg8kXtNcMrI69eVuJMvgTRstcaYG85Nfu2pYhWT/mkRdT5VjIlq+MLDXCgzlCpS77ku++iR+XoukU0Xi4E5KHNImP4BEMaICgaQskXgYr8jd67M7eIGq2IZLLU8ookk/P18jxS99QC9JGaMB43pTqZKPsqLmw5OXJnbuKdfNMdiqplf/GH0WSO32EZzyfR0GeMzvsggFDRGwAnbQC6Fo65OzcRj9vnJvR7SLfb7WKxiBL9HtJ2b9PNT0NxGvFz1klEQSvqUAPKgbuo1+82AqxC7Ko6yVDBLlrTH1zRxnbBVL7Xzz2C4K1kRKnD2DGCAyUeXfKDBCMtaPvYHzR7PawFaGW5aTkZuQFmk1FQB4l3AdgsosJ7rwM4rhNR9FYyshXq/GTdygX6xN0Aqp6uoQ0iR0ymBBjVArTfSuY6SLw418ABMPva+b8A2EgbeDhsaI6g47hG63F+o5zIrSuuVn6m9QBdVk8bEWXRTy3AYz1AsyrKeZB4ccLIta4VzpdDvAv7T+ZgSOcmdNPXWhG1QsLOU5olR7taD0En3/5WRP0zrwe4ayGiCqBzDqo7d7wuN5EpJWoH6O8ARpvfAaTq2uos6V3VnMQFzwlJfHzKxOsimtyo9c0lojUApcZ3jWA1KuzoHEElq3v6BYu1asIBMCl2qdcCPLaag6CurZ6jcz3A/PtEnRDbUUSzv0RUpRMA2EZNaI3fWGmny0+bcxOHdFgbCiwf556vgolzzGkbw6Xo3SJqZ7nrRFTeWdWX41OadeCZL5NGgC4RZWK1tB5HAPyv2VRDKrgtwECMNxAX5Rzzn+soAPUPbUw1P9n92M91eRNhqznYBJAcezGnABI5hM1uKlyPIzkS053SDk0iOq91l1qPoOvOIzkZIUf51+VzO1LbN2tENHeOR+mnfhViI8B6j/4XIqr+srpoRhqTL5kGOS7yclbt+WrPW+YyxXh7lSE9R7QEBp2m7dh0Zrkb118hwlNbgEqI98v7eToeh558vh9442Q0TXfLmzFwjaKf/+Fz2JJNrS/KmHdbEZWPoE6OqEuAKhCz+LD5vn1vDvFa/wVJ/H/uEeSuwK9bRKm6tjZ35sW8LUbQgdTA3JyJMrNLb47QfV2GoRhCuK63EO6AOKVZXhCqsv1o16TlOMwutQrxmBq/U9f02ehGM9JlVDrQZpa9Iz/YZoNO2ztBVC23U90AuxQsNNNylMJ+HWCHMIRn7ET/VyMoW5jDIoQObDZ3jdNlFH6y/7+I6G3aYhycbDYCrM9NLA7VatNpZWw/goeteGWp0Pme3wHMPgtl4/ybOXhZdFHXRBrT0vhdxr46vDFI438DMPsZb/P3NAEeurBpv5Wsyxy0W4mK8+z+VkSzH/uojodWAF11ba1FVNNO4Z6s3wHMP/OEtQTo3uZYkOC6thZ3EhmQ8r1caDl9SUTznRqOzQFd1AR4K9nLIlrRTufoAIyXAK7ncPfZS3Owoa7ttS2uYbRsDdA12ssobBHMas9m052tEqBmKyK6a1eiC8Dyl3sk9Pvm/z8Au4xgFTdIzvuPkuMOAD/25/wkBOcLn1+cSaXGb5FL75QfzL3OZDtHiQeny7iZp7KCuSlH1JZNBclR1/bKHl7CXvLCUXr/nPG6z+zzno5CX51q3Jwj6iZodF3b3wDUUbVgOF6lk+vjdFgrA++yPpwe10kajWWEqimP8SrAvl3X9kciigK/anZq5aQuApys+ts56Kxr+xuA3Tujm4i2H4d/A/CF0a4ZwV8t9uVvVdGQnvJWNMe4kGNfR6sfh2lFHW1j06KxaYaatu/UkUV95JG+MEiaaH1EGyBaQdD+QdOYtvxNpRB95Wfoi6C68B20tSRdaLs33YbWr34aFz5xwRwXLWgpkn9Fi9n8H/JtKyICDgNwAAAAAElFTkSuQmCC"/>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AutoShape 6" descr="data:image/png;base64,iVBORw0KGgoAAAANSUhEUgAAAOEAAADhCAMAAAAJbSJIAAAAjVBMVEX///8AAAAEBATz8/P+/v709PQBAQH4+Pj7+/sEBAXu7u7t7e3d3d3g4ODExMQ1NTWhoaHQ0NAoKChubm69vb10dHTW1tasrKzKysoeHh5BQUEvLy+1tbWLi4tVVVU3NzeamppYWFimpqYUFBSTk5NLS0tgYGAaGhqDg4NfX1+MjIx6enpoaGhEREQqKipH3g/SAAAfSklEQVR4nL1dCXvqKhMGEyXXaOKaqHVfWltt///P+7IAgZkhi+35fO6t6ekkzAsDs0IYKz++jy6Y6+Lf03Z+XLg5CCdt8QmC8lffuGDwwm+m9d20TY/rQgub9mLOV67nlr8JeYPQF4H6C774Y1rJiIC0HR635wOeOp4rHx7AO3UrwiYhaZmT1vW4AD6uCy1ic857PX6l2SwIRF/+1u/Lh+sLTzGtLxAtJvFkK/32tJqkjtbF5jUHyO8kbSGqqo9aAYQcBV6fQVoFENPWPK57Z2RsFt9bzjOAfEnRFtAQQN/7Y4BqlUMrY6BxdeoM3XRxMS0B8icFMJditfZkrTQCJBjpOxjRtMzzwlU6uS738frC5efj7fbcTdLFOJDTpEPfVmwW32MJkN9cbPpI/l8YQQwwXyb8cJTeTzNe91mf7pPp+PURFDMJkL8NAwctuLOPxe4FEWVeks43BpJBTzLSQxfZZzNPk0Av8B3mYKYn1FP+G9YDbBbRDgDHk9tF4RoAgP8BgJrksp+MGpuGbC4VwOzLqwVYw3THOSiiuzlwECC80CTl5xEJJtr37ZUbjxuSbII7X1ETFYlg/WhZtDfoDLBC+tx6TU2ri60JkI8o2mKZ8cVvAGpaP1jN1yTTLURUX+T//jGfEqKPAa7UyJePiyiA+WJd2UC/moPhcaaa+w1A+Zf1MWSwaTgHxzbAzDDFbEqN36gmmudgMq+a+4WImutrPpA1aoIN16pF2XHHAI+2UOPIfqcmopvmy810F4DlxW3BCKZl077SRfqmr4BWq/6vRTSNcyb/cgT1RZwyu2nNJlNCUw37gznYVHe6RrBBRBcXC8afANTzNftvywhTjbEdBNjj+zqAL5pqAVscbO7/dATLi3ih7VbNJjsjgNm3YFhEFcCX5mCfJTfQyj8AmH1uK8AmizDA7Clzik0fcN8BYBAuiVb+HmA+xeceM+agPyIBZmR9HdlRLhvQ+B3moN+f0K382Ry0ac+ZMa/6NlwjWmX53R7XYxol4ThUSp6ZgZEOI8im3/8GoJP2eyqnYCDenU1z/en93N6X9+s5s3N11K2TiOKl7B8DzH7uJMBF66bzzyHT+KwzwOTnBYDo09Eo4JuSB7bp1PS3FLpOACeKx24Ae7P4sLndbt+bw0zHM1oDHPBJwUMw7tR0POwOMDw1A7QGrrdf7tJVMg69wtAP8mU/HI9W6fWxr0UKxHlVsnnsAvDU7w5wdeG4y50TYX9chIIZEWhlnUg/VwwXV9ljjZ5HWLL53QHg3C2iTjVx5G0A5t+X922i3Gy3C1RENMfbd+Uo0EwXF5LNdXuARyY1fvsRFE9OTBrYSvb/5msaVPH+NoHf1dd37QhyXvpC4lIP0JgmuUkrY95tAYYbBJAIQ/C368jxOHfgN4c+Pr7JDqKeuy7NlJDzFiOYS3zCpCr0WwMc8RYjKD3XVpEyLDzT0hKkOm5TkoyMaVInorM8SFDmZ5Qp1zgHoxYAD2e1Or+WfBEsSA8U9z3+LvtACkoDwL1QkqE1fuMInpsBnqIg+IPky+pToTDmlXRwg8qtqAO4NJtuCfBYDzDHl+QJNefj2idfWDD9hAB7pdEmxLYZIJe5RBqgS0S/mgDekm7R6toFPJtuew5aPBYk0qCqB7h9YQTvtQCzZWDVxHTn5MvqW62rZYtpSXtvAPgf71lButcBDkyAaSPT3bNLrJ+aLfbGJe2yaQRnYwug3wqgKaLQ68x+LvsGLTWvOomophVMPKoulQDZZwPA777VtK3xXXOwbpHJ9Pu0PdOdoyVJLNVfqGj3dQB5uYhWAAt9qAtAXlETnN+DBqZfKljQuQlRzjs1gixc1+R95CJqACwM/qABIKHoK0PjErHmEfwFwKDvT9eViLLhWy3ALezbIkzju1ppNtX457AFwFfmoEkbPDVAr34EpwCgtZy65mBYB/CogkPNo/JaxBLQhjM3wMw0D+sAOt2lGm/iErWJYRlavPxTs5Xoik+HcR3Ap53lbgmQYX9QPzwOA9Dl7jnI8tDFOIkWi226XSyi6dhzNu0UZ48aQbXgbSL7cW0BHt0i+tlvEWYt5pU/XByfMYeft/lkEfq6GA8lX+Bzh3gOlp/L+nZNAJJq1pUaHy/nMibjVvT3FnHk3BcaTZYfmhctUzp2e3keRyCh4hjB8I2bUrTevy/vx+1qOgoDU/QhQEddm4qquYNOx6DZQ8jGbhmbNxFhw2Iwl5HwRcMcBGoizlcVpedqKs7oujY9r05OgJMA0mKA0RxMXHdugg+eZXrJOQf7tojOPHrFhQD7dl0bDvy6AKZ+0wgOjyoS2ir5ksvrcWgkX6CI2gDf+vVGlAWQqmsr6RI1e7oDHOUWc/fcxEMnX4g5aDzuMGyw86GXQgMMnLmJSQPA8TMn7g4w+7yPqOd6NsC3ISWifleATNVuoVW0YZEJnwZt+/ygWmifIQYI5mDfZLNYRMJocrizbgB9FdJCI3ivA8jEFTDdegT1xVfoW88Nf+xV1FNNj8/H3eNzo5RR0glg0HclQD/dCWPRZwu67KsLQM5nCwtgjNREyaZKdavHfZMAYZZb5+hdKey4smRw4Z73pJluJ6KDiuQ9rNSEbarN9Bwco8edKYBWXVvFdD90ALyEbksmWLiYbpHqALQjh6k2E6rpEfFcr7muTU8nR5UFd3sTgfdwcN9FRO2gk0NNFAAHxHOfPvJSBKs0vrH+BokD4NEJ0B9v/mwEB9UIAjVhzkH8XLXYOOraLAVDFwLxT98JUFYP/MUIViELt6n2JJ9b1n25qqLMhWNBA7w4Qxa+XJj+ZA5WImovMm9e1bT4oC3KRTPA4p/JWrWiBtcxB7+6AGw9B201cQgNNn267IvH7QAuyC7nd2K0y395NANsXR1cBZ1sRf9jm2qyNhGxuUXquvjVt5m+kADfXHHR4NkeIPq4AVJqwmDTf6MA8gtcC4NS41tMp+Sk4a7IdhuAxc/Dfp455Yso2p6/5vtDPUCgJmIPNZ3QbG4BQCvLLf85pkRJRssJgM0imvXsfJLkwQYVG8qccz9MJnNdTSPn4KjRVDN4WHJC4rOZaAG0styqZtvMc2iA3JF88VssMl9JIG8CgV82nF7JEXSaaib3w6p7zKYXlnFGZblvnFjXXemzRjXR014tFdArpO3R4yD5Aky1H0E1LYKUAshvBK31W8KJonRVNOdS9C6APxOPETU1IKpW7tRoYapZALPHfRMAOZ+i2hJ77OecckzpDK8sonMB7KUBjhKRyReRmsZ2G4++eNyK9L7mMKhu3xmSwn0jAQqv1ha9+rV5DDuqJpxqwqOmv3wclUus9rCRAP0jOXvpIgS5jFIAOT+FBEfdky9vWE0Yj0vIPMbRovXtVoIZxfSJbEW4/UGZ2P998sUy1YiY8x5PE87XJi2oaxMrkumEaqU/dAM8jBsAOpMvP/w/0lQbDanAr5gSAPM0YgUQ1LXJrTaA6RMddHKFLKpcOgLYMflSmWoj/s4wwOxxJwJg1n4laCDL3V8TADOfggK4cAI8ugC2Sb6Ylkzl0Wf/tAW56jImExEA+UeoBa3Q+MadEcX0IehjgIFwRNWqXHrnOTh0mWrFhvSZIADmnh5hBi9AZ1S/kdU454Ca6Y64qPIiX8jnOz36ccn9lQLIzhyOYO8/WHJS/SYogHxIrdVhZ4BNamI4cyRfdEwmpHITyjo1APbKPV4EwLKuBJkIzGJE0j5fF1HHHIwtV6FKvlRRtScBsO8/CIDmlmCLkTtlIpAVv2OHmji+CtCZfBkbEywRCGC/TJEZ7lBxcTd0pskIxyYCf6MAZkNIAmyhJhwAXckXE6CqEgaR7TcMkHNGZrnHhA2ky6gspkdk2JAfmkbQqSZcyRcrLlruuEeh+ysBkMt9EL5d1zbBSU35UMj0gwTIGywZXU8AS8udphoM/D4IgNnADCDAXp7DYDphoZpjckO2pUE3FNNDLM495SXXAJymu9MmjuPN/r41O642+WIPj0cVb6FN3SA2XGl86rCOL4rpIwnw5ABY1tSsZDxHf0QLUw2FWY8EQLVT0KK9BGa0pPj0RUIAzFdSbNJ/kDn6GnepP6kOqWmffCHiyJcAl/4EUwww9xZ0xZkE6LGUAJh1BVFGQgIkR7tkZPJRrUylvuq5yiltUw2vIDLubsV6gg8MMJsyEGBQ+BXQin0nmPblXn8QsqA9+kxOxm81cVF38iUzsFDZTU/aHyCY9WkG1eXF3LdFNOMoP4UBmelbHzEthiCQU7af0iNYbseEAHVUDXr0Zp3MmUi+8J7AAPNDXNBob5QKruraQirWmeBIGXTtZVSNEOcC4BLTupMvVtApnAGmi6dERHZpzCHAQbks2Brf1uJS7AMsdmV+GHbGxAHwRNBWQSd7DsLky8RiWnK3pLJLklszWF9mS30zy50SAPcMz6sgJpjueUTY0GsC2JB8KaYDzE3EApu2wR4BHBQ6365ru2NHix/RqASFv43E+YFiDEVPEyLaJfmyJJIv2cRBlp+MENrpljusa8u6G7rKyle2S5on1HydkpFtYpEx1ERz8iUhckSq163OsJLWkvYTFg15cl5bVmxoMi13viwJgD2fVBN1I9gq+cLxZkqpL+zg3xAD5OvABtj3IMD/5NIMza8PHBgptD0aQUbowW7JF786uaGaQB8+HMHsZw+PNh8KC6AI8QgWCw3c+TKkIj8JBRCLc4OawDHnKQKYXVC0OmFmiPNIYpMclSeDAUdraY1geRFxDPAC84OFLfoBAQ6cppor+RL0LKbLiwXRGUucT5IGXlXXlmKAfIe99MyvwAvSHAAsaCevmGrQMJqjEcxVr1OcLZusTHlWdW0TIhaQopO2fJW1t8ykCR5B5s+gOFci6vLoEcCcK+Rrz/FWY5EigPIYDUPjU7GAlTDVRHHBYgywmIbQ4V0BgJdWpho0jBIi+CcjRyZtWQ0LxHnH7Lo2nfcngh1maIsAaAYy9Wg/wHzVCVBnnYxdnV4+LuToAALOic6wFJO8eOq6tpJujyx5GXexEyoBAfAQEPNVPUPSbhtNtRHHAJlXFqVYKwgP8GhT0c2bnq/lJ7Y5ypfIXghEtF9qceiq7KmYDEckjR49cmRYXyYIba9ujMU53/sCxTn2TYCBv7Y4KpbImYcAgjod6WwyCDAQqU2SBA2mWm7tpoHJNCsCD3MMkIqsEJu+ikRpBdBjZRjKqj+LA1tE8wuz2kbR3gMgor4X2GVnbxKgqEu+qMI5K3S/wwAzRYc8NfGGIitqvuosNxzB7OLg42j1giOA/MjACGZMn6zH7eQCf6hLvpTBOhtgvgcZBR4WKPDA+nC+9hTCqq4NA8xjpWiT8gKHFmQ2xs5NbEwSnpZ/2Vq2FYqqbTDA7BYEkG+JwMM3BCgRGlluKKI8X4zw5gV5KgX2sUDyJabs1qcpSjj5EmOAuZGI/PIUZINzJXbDAHOE5uktxApy81FCRZ+7YXZGZAKUtLHVBzJmYlZOEMmXmMgPRoRfvoUAMzZvGCBndl0bxxr/W2/vrKKvCwwQlB6XF7E1Xwszvx+8VwCp5MsBA8ylFAD8D/vlfnE8FnJbqwVJIbQBDvgGAcQl4PnFlsjRb6zHbQuOShEHppoR2d4wCNCHWqe4WACAQdEe9suBxpcyrocnMx4OyrUyAiML2BzPjX1UysVO3CT5khxt5GDQyZdTAAH25d4d22ReQBHNHkYULHBL4wv/AkZQ6kOY1IzwgpTpAlQnE9yt/nqTHIkyTbQhky9KH1oZ3h0GaJ9qXTYttKlUKbGLOYCZBK0hwFIhw+BkQrgg88Ceg/l83dokykth6fP03DI8B40VxFrA5xhgtjIDES2CIsgvlzaN1vgxApjbpa3CyzKqatXJjGyBucnWVGUOlXwhM7x7wm0dI4BsjLS0ykhXdW17BDA3cVFaui9ZNmhz3wKLM2huWzHtAsgJgNn8wjLj9W0RzRakBAFU+cxS4+c3LDFAPsJ7DdWKZM7XQt3BOMvDbG5QeMlAINqksKlTOTiDgQdPjDDA4nlmlvuKAWazB4WXgY8/UNyjUi7jsILicb2E2SOY9ABHKwyw8PEhwFhJvHHkxhQDzGssrLq2CYcABzLdbwdR5hhgpi6IKguV9dX9JQ8flwBTyNHMJ3L0R8IMVilEkzbFAItkkZkjTYl43A4DLCL1cLTneL6K4GgDzH7eiuKjYlJMb0jrTKg9vE/VTRVtGfcCTs+OMDp1HE12rNwqZVnySwywrAwDnXEZYnEOxIcFsLjn52ubjKbb3Q/u8rUgihCGeImEZnB5scQAeSRMgGpfrB3s2GOARcwbifOUEOfi2HQcKVMfyNGZAChLlgHtEAUerE0iWuOPzSx3Hl7GAPO8BQpk+h+EOF8JgHneAgHES7+8iHGsJ7OUrjbTBe2a8MtFZVVXe8gkv74EmEdwcbgq9CFAFsA6hYF2NiHtGIcCXQAtLV5JPAGwSALjd3lAgL1i5WJWlvuEAZretA4vT2ySSl/gWPsRdwZKCZQXZ5868SyhaM848ED65Z8FiXl6C1F6ya8BYFp45Zn2kOkHFZfvg5Q/jmEpjpZEIZCQJcuQdoRHO7gigOWGUFXXVtKluJRLWZxWaCuIiVHphVQteOFEtRDRT/qFfF6PoI31EcuVhmJ7DDBXv6CuTR3WgsNVIHa3JMSOq3PNNK1cGU/8ZYBlWgbetAwQQBwozFscwSy3gLu0ihtGGKAdHFKj/SOozsieq16W4ga4dADM36iGbTZZht88X0NmA8xm7wYDzF0CHH3tUXVtjtJLY2WS7cN5dabnYFn+gjy1niBogc1WMLWBh5t4vl3XJm/4JJg26trM9gMsojLVEdfpwTG5iuZf2K3Qm3WBp3bCAPnchyNY9ARazj+8PgTYh5ujJO0X0RmS6bM+cB2aamf3Wz93BEC53xqK84UQ51QFCkuNX7SSVB1Qif0qIJj+wCPIc6XtAFi9z8tyePlsIihLpnxKyFHwL/v+oGinBDPKkCw1vjy9JbfHULDjCzKdmxNHSnkTJWIGI7hG+LGi3CXtSKN8ZtHiEYsoOdr8Q60DVZablS/VhT29oZgeEqOtFpua96smeZ33IT5sTrLOu4YWlV6WXeoRAP0NppXdbZ/e4gt8rlDP8co9mMKWF2PXCJYXVam+/HYD1Cck2QAfZMcRtKXzrrLcytES6OUf+cWVmlcJeKa8iEmALU7GQ53xRgI0tXhVeglfeVPQjpkRWSlbyceeYFoHcy232n9SAHNn33XGJF5oawBWrr0N8EltuunPCNoeM+LTRit3ykyaUscqjkmA6qBigulOAL9ogNnA4OdCL7mkvRt9a7YSUUzPIdPF2D8pgD1OxkW7AkwdAOcEwGpjr0UbGW8RNFsxXGWDaWExIuXEebxw9PIcVF0OnT2tmELiqLhAkLSiestL4V2oO/E7BfMbUmaHtkrSK+6M8uER+90IOgFeycP+zhTtsjpE0z6vjXgbVi9PXOIEqPHuM2wvNZ6f/IqI8hkR0BNlHRCijfRog/PahNrLbTNtjEoV2ZaHfiCLd8B1XOoFNeFcZLIZTnZcRNGu1V7uQGa5jTuLakfo35zoF4M/bVrDz52/CjBwqIns806fpLanaOc+aNr4bUoA5FU41GJa0ADzi3hMbeFvBDhyKPr8Q5+klpC0K0Br/TZDm40GqpQH7eGNOBJR3coEx7AaAZ65G+CCBFgcbgJoB3xWBxCnQgqxS5i5yOg7H5ojGBeVZ5t0EdFw7wQ4UK+JhQCp7QoyseECGIRkKzfCpM/sJaHe00cGfr+I83ecAPNCONKb4EZVSJsC9p4+0kpFbcGdtImQSTa5STmsAZh9jHc/1QMsikrcAMsyUAww4gMEUGbfqjErY97GnQnZyqZKwFutrOoA5l681wKgl0cAYKTKlPgVDVA7hnbTiQWQeCvZjZzpVLI0/6R8UJub6C2TarM4kV3yWbLsEQt49biB9KyxAXEmX9FmJ8yot5LlQ4/uhMJd5SaI89psXrMJOQ1ogGy4utq0FEBlQMCm1ZIB4tORtVSUGh/cGRNjPyjCeGRu4t4AMP/q5Wfu6V2rZb+GyfGJTVu8cNwdABmRBBsUXjhe3+w7gzN5Z6b2HYbmvFXypTg3cTfZLqJtOtmpcxNpWhOg8zRDImmdX2ypzgBMlwXRKDfxJujkSw5x4B5Bcyjtj7MzTBF1ARQeeWYXv7QAGBTVeUTy5e5IvlSavw5g62ywBdAlokIWziE2F9hcpEblQADsqUWbiGzL/F0XgBQJVhOuRUaIiAZInPgENX7B9ILm6CJogH16X1i7EXSLKHeqCdH36JlEJK2hxpdid0OVucXFuyv5kqn+ARXVaB7BGoA9h6LPF/BPur9uOCtf1bWZo6J2NiKOqo1xSLeFxAkjv5iDmRnlMNWYegcisVRMkUfjeiuZTsADRtSxFETgV/TvTaPSYQ5y/nCHQvRuUGgl4iOtrCy3Ffj1aI7Ukd50ZDuimH5xBB3+YH7hF5VSxAjKLQGET0oxfXZMmpgUUcmIeBLhyBfmIH+veZ2bz95IgLrQEGszelRudPIlL1NxJ1/YljzLouMIztQBgrQR9UkC7Kk65HYjyND2uuri7pMiWl74xTtKauZgC4DXYW048u4AKIuoGwFWyZcvmhEqN2EFfsv3zLw8gvMwqH0Z2NHxOPpQMlb7VjKiRDK/kPJek3wZvevx7wowf9NhbVJnwskR7MndwVhdO95K1ne+Q6K4SN0jmF8I+b6nbgCzn48Ro5IvBsDUBZA+dc31VjIVdNKF0WjhSHFuAlh+w6Ouv2jlWnH+cSS2d7QEqDfMI4D2W8lg8kXtNcMrI69eVuJMvgTRstcaYG85Nfu2pYhWT/mkRdT5VjIlq+MLDXCgzlCpS77ku++iR+XoukU0Xi4E5KHNImP4BEMaICgaQskXgYr8jd67M7eIGq2IZLLU8ookk/P18jxS99QC9JGaMB43pTqZKPsqLmw5OXJnbuKdfNMdiqplf/GH0WSO32EZzyfR0GeMzvsggFDRGwAnbQC6Fo65OzcRj9vnJvR7SLfb7WKxiBL9HtJ2b9PNT0NxGvFz1klEQSvqUAPKgbuo1+82AqxC7Ko6yVDBLlrTH1zRxnbBVL7Xzz2C4K1kRKnD2DGCAyUeXfKDBCMtaPvYHzR7PawFaGW5aTkZuQFmk1FQB4l3AdgsosJ7rwM4rhNR9FYyshXq/GTdygX6xN0Aqp6uoQ0iR0ymBBjVArTfSuY6SLw418ABMPva+b8A2EgbeDhsaI6g47hG63F+o5zIrSuuVn6m9QBdVk8bEWXRTy3AYz1AsyrKeZB4ccLIta4VzpdDvAv7T+ZgSOcmdNPXWhG1QsLOU5olR7taD0En3/5WRP0zrwe4ayGiCqBzDqo7d7wuN5EpJWoH6O8ARpvfAaTq2uos6V3VnMQFzwlJfHzKxOsimtyo9c0lojUApcZ3jWA1KuzoHEElq3v6BYu1asIBMCl2qdcCPLaag6CurZ6jcz3A/PtEnRDbUUSzv0RUpRMA2EZNaI3fWGmny0+bcxOHdFgbCiwf556vgolzzGkbw6Xo3SJqZ7nrRFTeWdWX41OadeCZL5NGgC4RZWK1tB5HAPyv2VRDKrgtwECMNxAX5Rzzn+soAPUPbUw1P9n92M91eRNhqznYBJAcezGnABI5hM1uKlyPIzkS053SDk0iOq91l1qPoOvOIzkZIUf51+VzO1LbN2tENHeOR+mnfhViI8B6j/4XIqr+srpoRhqTL5kGOS7yclbt+WrPW+YyxXh7lSE9R7QEBp2m7dh0Zrkb118hwlNbgEqI98v7eToeh558vh9442Q0TXfLmzFwjaKf/+Fz2JJNrS/KmHdbEZWPoE6OqEuAKhCz+LD5vn1vDvFa/wVJ/H/uEeSuwK9bRKm6tjZ35sW8LUbQgdTA3JyJMrNLb47QfV2GoRhCuK63EO6AOKVZXhCqsv1o16TlOMwutQrxmBq/U9f02ehGM9JlVDrQZpa9Iz/YZoNO2ztBVC23U90AuxQsNNNylMJ+HWCHMIRn7ET/VyMoW5jDIoQObDZ3jdNlFH6y/7+I6G3aYhycbDYCrM9NLA7VatNpZWw/goeteGWp0Pme3wHMPgtl4/ybOXhZdFHXRBrT0vhdxr46vDFI438DMPsZb/P3NAEeurBpv5Wsyxy0W4mK8+z+VkSzH/uojodWAF11ba1FVNNO4Z6s3wHMP/OEtQTo3uZYkOC6thZ3EhmQ8r1caDl9SUTznRqOzQFd1AR4K9nLIlrRTufoAIyXAK7ncPfZS3Owoa7ttS2uYbRsDdA12ssobBHMas9m052tEqBmKyK6a1eiC8Dyl3sk9Pvm/z8Au4xgFTdIzvuPkuMOAD/25/wkBOcLn1+cSaXGb5FL75QfzL3OZDtHiQeny7iZp7KCuSlH1JZNBclR1/bKHl7CXvLCUXr/nPG6z+zzno5CX51q3Jwj6iZodF3b3wDUUbVgOF6lk+vjdFgrA++yPpwe10kajWWEqimP8SrAvl3X9kciigK/anZq5aQuApys+ts56Kxr+xuA3Tujm4i2H4d/A/CF0a4ZwV8t9uVvVdGQnvJWNMe4kGNfR6sfh2lFHW1j06KxaYaatu/UkUV95JG+MEiaaH1EGyBaQdD+QdOYtvxNpRB95Wfoi6C68B20tSRdaLs33YbWr34aFz5xwRwXLWgpkn9Fi9n8H/JtKyICDgNwAAAAAElFTkSuQmCC"/>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3802" name="Picture 10" descr="http://image.flaticon.com/icons/png/128/65/6553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03249" y="1406435"/>
            <a:ext cx="844730" cy="844730"/>
          </a:xfrm>
          <a:prstGeom prst="rect">
            <a:avLst/>
          </a:prstGeom>
          <a:noFill/>
          <a:extLst>
            <a:ext uri="{909E8E84-426E-40DD-AFC4-6F175D3DCCD1}">
              <a14:hiddenFill xmlns:a14="http://schemas.microsoft.com/office/drawing/2010/main">
                <a:solidFill>
                  <a:srgbClr val="FFFFFF"/>
                </a:solidFill>
              </a14:hiddenFill>
            </a:ext>
          </a:extLst>
        </p:spPr>
      </p:pic>
      <p:sp>
        <p:nvSpPr>
          <p:cNvPr id="15" name="AutoShape 12" descr="https://openclipart.org/download/247316/abstract-user-flat-2.sv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AutoShape 14" descr="https://openclipart.org/download/247316/abstract-user-flat-2.svg"/>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AutoShape 16" descr="https://openclipart.org/download/247316/abstract-user-flat-2.svg"/>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AutoShape 24" descr="https://s3.amazonaws.com/kinlane-productions/bw-icons/bw-stacks.png"/>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AutoShape 26" descr="https://s3.amazonaws.com/kinlane-productions/bw-icons/bw-stacks.png"/>
          <p:cNvSpPr>
            <a:spLocks noChangeAspect="1" noChangeArrowheads="1"/>
          </p:cNvSpPr>
          <p:nvPr/>
        </p:nvSpPr>
        <p:spPr bwMode="auto">
          <a:xfrm>
            <a:off x="215900" y="158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Rectangle 19"/>
          <p:cNvSpPr/>
          <p:nvPr/>
        </p:nvSpPr>
        <p:spPr>
          <a:xfrm>
            <a:off x="1219200" y="3886200"/>
            <a:ext cx="6642101" cy="1066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a:t>Usability Testing and Learnings</a:t>
            </a:r>
          </a:p>
        </p:txBody>
      </p:sp>
      <p:sp>
        <p:nvSpPr>
          <p:cNvPr id="21" name="Rectangle 20"/>
          <p:cNvSpPr/>
          <p:nvPr/>
        </p:nvSpPr>
        <p:spPr>
          <a:xfrm>
            <a:off x="1219200" y="5181600"/>
            <a:ext cx="6642101" cy="1066800"/>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a:t>Updated Visualization</a:t>
            </a:r>
          </a:p>
        </p:txBody>
      </p:sp>
      <p:sp>
        <p:nvSpPr>
          <p:cNvPr id="22" name="Rectangle 21"/>
          <p:cNvSpPr/>
          <p:nvPr/>
        </p:nvSpPr>
        <p:spPr>
          <a:xfrm>
            <a:off x="1219200" y="2590800"/>
            <a:ext cx="6642101" cy="1066800"/>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a:t>Technology Choices</a:t>
            </a:r>
          </a:p>
        </p:txBody>
      </p:sp>
      <p:pic>
        <p:nvPicPr>
          <p:cNvPr id="33810" name="Picture 18" descr=" abstract user icon 1 by Tree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98948" y="3992934"/>
            <a:ext cx="853333" cy="853333"/>
          </a:xfrm>
          <a:prstGeom prst="rect">
            <a:avLst/>
          </a:prstGeom>
          <a:noFill/>
          <a:extLst>
            <a:ext uri="{909E8E84-426E-40DD-AFC4-6F175D3DCCD1}">
              <a14:hiddenFill xmlns:a14="http://schemas.microsoft.com/office/drawing/2010/main">
                <a:solidFill>
                  <a:srgbClr val="FFFFFF"/>
                </a:solidFill>
              </a14:hiddenFill>
            </a:ext>
          </a:extLst>
        </p:spPr>
      </p:pic>
      <p:pic>
        <p:nvPicPr>
          <p:cNvPr id="33812" name="Picture 20" descr="http://28htv21jkhic1fkybe2p0zo3lka.wpengine.netdna-cdn.com/wp-content/uploads/2014/09/requestdemo_icon_v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47727" y="5329917"/>
            <a:ext cx="955774" cy="770166"/>
          </a:xfrm>
          <a:prstGeom prst="rect">
            <a:avLst/>
          </a:prstGeom>
          <a:noFill/>
          <a:extLst>
            <a:ext uri="{909E8E84-426E-40DD-AFC4-6F175D3DCCD1}">
              <a14:hiddenFill xmlns:a14="http://schemas.microsoft.com/office/drawing/2010/main">
                <a:solidFill>
                  <a:srgbClr val="FFFFFF"/>
                </a:solidFill>
              </a14:hiddenFill>
            </a:ext>
          </a:extLst>
        </p:spPr>
      </p:pic>
      <p:pic>
        <p:nvPicPr>
          <p:cNvPr id="33819" name="Picture 27" descr="C:\Users\venjaraa\Desktop\bw-stacks.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25564" y="2724150"/>
            <a:ext cx="800100" cy="8001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7391400" y="262128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P</a:t>
            </a:r>
            <a:endParaRPr lang="en-US" dirty="0">
              <a:solidFill>
                <a:schemeClr val="tx1"/>
              </a:solidFill>
            </a:endParaRPr>
          </a:p>
        </p:txBody>
      </p:sp>
      <p:sp>
        <p:nvSpPr>
          <p:cNvPr id="23" name="Rectangle 22"/>
          <p:cNvSpPr/>
          <p:nvPr/>
        </p:nvSpPr>
        <p:spPr>
          <a:xfrm>
            <a:off x="7391400" y="387096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V/ RR</a:t>
            </a:r>
            <a:endParaRPr lang="en-US" dirty="0">
              <a:solidFill>
                <a:schemeClr val="tx1"/>
              </a:solidFill>
            </a:endParaRPr>
          </a:p>
        </p:txBody>
      </p:sp>
      <p:sp>
        <p:nvSpPr>
          <p:cNvPr id="24" name="Rectangle 23"/>
          <p:cNvSpPr/>
          <p:nvPr/>
        </p:nvSpPr>
        <p:spPr>
          <a:xfrm>
            <a:off x="7391400" y="51816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P/ RR</a:t>
            </a:r>
            <a:endParaRPr lang="en-US" dirty="0">
              <a:solidFill>
                <a:schemeClr val="tx1"/>
              </a:solidFill>
            </a:endParaRPr>
          </a:p>
        </p:txBody>
      </p:sp>
      <p:sp>
        <p:nvSpPr>
          <p:cNvPr id="25" name="Rectangle 24"/>
          <p:cNvSpPr/>
          <p:nvPr/>
        </p:nvSpPr>
        <p:spPr>
          <a:xfrm>
            <a:off x="7391400" y="12954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V</a:t>
            </a:r>
            <a:endParaRPr lang="en-US" dirty="0">
              <a:solidFill>
                <a:schemeClr val="tx1"/>
              </a:solidFill>
            </a:endParaRPr>
          </a:p>
        </p:txBody>
      </p:sp>
    </p:spTree>
    <p:extLst>
      <p:ext uri="{BB962C8B-B14F-4D97-AF65-F5344CB8AC3E}">
        <p14:creationId xmlns:p14="http://schemas.microsoft.com/office/powerpoint/2010/main" val="23100678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A quick reminder about our project</a:t>
            </a:r>
            <a:br>
              <a:rPr lang="en-US" b="1" dirty="0" smtClean="0"/>
            </a:br>
            <a:r>
              <a:rPr lang="en-US" sz="2000" dirty="0" smtClean="0"/>
              <a:t>Current state of the NER and our objective</a:t>
            </a:r>
            <a:endParaRPr lang="en-US" dirty="0"/>
          </a:p>
        </p:txBody>
      </p:sp>
      <p:sp>
        <p:nvSpPr>
          <p:cNvPr id="5" name="ColumnHeader"/>
          <p:cNvSpPr>
            <a:spLocks noChangeArrowheads="1"/>
          </p:cNvSpPr>
          <p:nvPr/>
        </p:nvSpPr>
        <p:spPr bwMode="gray">
          <a:xfrm>
            <a:off x="4495800" y="1581090"/>
            <a:ext cx="39624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Project Objective</a:t>
            </a:r>
          </a:p>
        </p:txBody>
      </p:sp>
      <p:cxnSp>
        <p:nvCxnSpPr>
          <p:cNvPr id="6" name="Straight Connector 5"/>
          <p:cNvCxnSpPr/>
          <p:nvPr/>
        </p:nvCxnSpPr>
        <p:spPr>
          <a:xfrm>
            <a:off x="4267200" y="1939994"/>
            <a:ext cx="44196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 name="ColumnHeader"/>
          <p:cNvSpPr>
            <a:spLocks noChangeArrowheads="1"/>
          </p:cNvSpPr>
          <p:nvPr/>
        </p:nvSpPr>
        <p:spPr bwMode="gray">
          <a:xfrm>
            <a:off x="571500" y="1365647"/>
            <a:ext cx="3009900" cy="615553"/>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Current State of the </a:t>
            </a:r>
          </a:p>
          <a:p>
            <a:pPr algn="ctr" defTabSz="457200" fontAlgn="base">
              <a:spcBef>
                <a:spcPct val="0"/>
              </a:spcBef>
              <a:spcAft>
                <a:spcPct val="0"/>
              </a:spcAft>
            </a:pPr>
            <a:r>
              <a:rPr lang="en-US" sz="1400" b="1" dirty="0" smtClean="0">
                <a:solidFill>
                  <a:srgbClr val="000000"/>
                </a:solidFill>
              </a:rPr>
              <a:t>National Employment Report</a:t>
            </a:r>
            <a:endParaRPr lang="en-US" sz="1400" b="1" dirty="0">
              <a:solidFill>
                <a:srgbClr val="000000"/>
              </a:solidFill>
            </a:endParaRPr>
          </a:p>
        </p:txBody>
      </p:sp>
      <p:cxnSp>
        <p:nvCxnSpPr>
          <p:cNvPr id="8" name="Straight Connector 7"/>
          <p:cNvCxnSpPr/>
          <p:nvPr/>
        </p:nvCxnSpPr>
        <p:spPr>
          <a:xfrm>
            <a:off x="381000" y="1939994"/>
            <a:ext cx="35814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Content Placeholder 2"/>
          <p:cNvSpPr txBox="1">
            <a:spLocks/>
          </p:cNvSpPr>
          <p:nvPr/>
        </p:nvSpPr>
        <p:spPr>
          <a:xfrm>
            <a:off x="381000" y="2057400"/>
            <a:ext cx="3581400" cy="182880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smtClean="0"/>
              <a:t>The </a:t>
            </a:r>
            <a:r>
              <a:rPr lang="en-US" sz="1600" b="1" dirty="0" smtClean="0"/>
              <a:t>National Employment Report </a:t>
            </a:r>
            <a:r>
              <a:rPr lang="en-US" sz="1600" dirty="0" smtClean="0"/>
              <a:t>(NER) is an estimate of total US employment produced monthly by ADP, a payroll service provider</a:t>
            </a:r>
          </a:p>
          <a:p>
            <a:pPr marL="457200" lvl="1" indent="0">
              <a:buNone/>
            </a:pPr>
            <a:r>
              <a:rPr lang="en-US" sz="1400" dirty="0" smtClean="0"/>
              <a:t>1 in every 6 working Americans is paid via ADP (24 million workers)</a:t>
            </a:r>
          </a:p>
          <a:p>
            <a:pPr marL="457200" lvl="1" indent="0">
              <a:buNone/>
            </a:pPr>
            <a:endParaRPr lang="en-US" sz="1400" dirty="0" smtClean="0"/>
          </a:p>
          <a:p>
            <a:pPr marL="0" indent="0">
              <a:buNone/>
            </a:pPr>
            <a:endParaRPr lang="en-US" sz="1600" dirty="0" smtClean="0"/>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61010" y="4440136"/>
            <a:ext cx="3200000" cy="1732064"/>
          </a:xfrm>
          <a:prstGeom prst="rect">
            <a:avLst/>
          </a:prstGeom>
          <a:noFill/>
          <a:ln>
            <a:noFill/>
          </a:ln>
        </p:spPr>
      </p:pic>
      <p:sp>
        <p:nvSpPr>
          <p:cNvPr id="11" name="TextBox 10"/>
          <p:cNvSpPr txBox="1"/>
          <p:nvPr/>
        </p:nvSpPr>
        <p:spPr>
          <a:xfrm>
            <a:off x="457200" y="4193915"/>
            <a:ext cx="3203810" cy="246221"/>
          </a:xfrm>
          <a:prstGeom prst="rect">
            <a:avLst/>
          </a:prstGeom>
          <a:noFill/>
        </p:spPr>
        <p:txBody>
          <a:bodyPr wrap="square" rtlCol="0">
            <a:spAutoFit/>
          </a:bodyPr>
          <a:lstStyle/>
          <a:p>
            <a:r>
              <a:rPr lang="en-US" sz="1000" b="1" dirty="0"/>
              <a:t>Change in Nonfarm Private Employment</a:t>
            </a:r>
          </a:p>
        </p:txBody>
      </p:sp>
      <p:sp>
        <p:nvSpPr>
          <p:cNvPr id="14" name="Content Placeholder 2"/>
          <p:cNvSpPr txBox="1">
            <a:spLocks/>
          </p:cNvSpPr>
          <p:nvPr/>
        </p:nvSpPr>
        <p:spPr>
          <a:xfrm>
            <a:off x="4267200" y="2057400"/>
            <a:ext cx="4495800" cy="121920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smtClean="0"/>
              <a:t>Explore </a:t>
            </a:r>
            <a:r>
              <a:rPr lang="en-US" sz="1600" b="1" dirty="0"/>
              <a:t>new and interactive ways</a:t>
            </a:r>
            <a:r>
              <a:rPr lang="en-US" sz="1600" dirty="0"/>
              <a:t> for users to engage with the </a:t>
            </a:r>
            <a:r>
              <a:rPr lang="en-US" sz="1600" dirty="0" smtClean="0"/>
              <a:t>NER data </a:t>
            </a:r>
            <a:r>
              <a:rPr lang="en-US" sz="1600" dirty="0"/>
              <a:t>and </a:t>
            </a:r>
            <a:r>
              <a:rPr lang="en-US" sz="1600" b="1" dirty="0"/>
              <a:t>easily consume the economic insights </a:t>
            </a:r>
            <a:r>
              <a:rPr lang="en-US" sz="1600" dirty="0"/>
              <a:t>that emerge from </a:t>
            </a:r>
            <a:r>
              <a:rPr lang="en-US" sz="1600" dirty="0" smtClean="0"/>
              <a:t>them via 2 visualizations:</a:t>
            </a:r>
          </a:p>
          <a:p>
            <a:pPr marL="0" indent="0">
              <a:buNone/>
            </a:pPr>
            <a:endParaRPr lang="en-US" sz="1600" dirty="0"/>
          </a:p>
          <a:p>
            <a:pPr marL="0" indent="0">
              <a:buNone/>
            </a:pPr>
            <a:endParaRPr lang="en-US" sz="1400" dirty="0" smtClean="0"/>
          </a:p>
          <a:p>
            <a:pPr marL="457200" lvl="1" indent="0">
              <a:buNone/>
            </a:pPr>
            <a:endParaRPr lang="en-US" sz="1400" dirty="0" smtClean="0"/>
          </a:p>
          <a:p>
            <a:pPr marL="0" indent="0">
              <a:buNone/>
            </a:pPr>
            <a:endParaRPr lang="en-US" sz="1600" dirty="0" smtClean="0"/>
          </a:p>
        </p:txBody>
      </p:sp>
      <p:sp>
        <p:nvSpPr>
          <p:cNvPr id="4" name="Rectangle 3"/>
          <p:cNvSpPr/>
          <p:nvPr/>
        </p:nvSpPr>
        <p:spPr>
          <a:xfrm>
            <a:off x="4267200" y="3429000"/>
            <a:ext cx="1752600" cy="1219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Jobs Explorer</a:t>
            </a:r>
            <a:endParaRPr lang="en-US" sz="1600" b="1" dirty="0"/>
          </a:p>
        </p:txBody>
      </p:sp>
      <p:sp>
        <p:nvSpPr>
          <p:cNvPr id="15" name="Rectangle 14"/>
          <p:cNvSpPr/>
          <p:nvPr/>
        </p:nvSpPr>
        <p:spPr>
          <a:xfrm>
            <a:off x="4267200" y="5029200"/>
            <a:ext cx="1752600" cy="127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Bureau of Labor Statistics (BLS) Comparison</a:t>
            </a:r>
            <a:endParaRPr lang="en-US" sz="1600" b="1" dirty="0"/>
          </a:p>
        </p:txBody>
      </p:sp>
      <p:sp>
        <p:nvSpPr>
          <p:cNvPr id="16" name="Rectangle 15"/>
          <p:cNvSpPr/>
          <p:nvPr/>
        </p:nvSpPr>
        <p:spPr>
          <a:xfrm>
            <a:off x="7467600" y="76200"/>
            <a:ext cx="1594104" cy="304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Objective</a:t>
            </a:r>
            <a:endParaRPr lang="en-US" sz="1200" b="1" dirty="0"/>
          </a:p>
        </p:txBody>
      </p:sp>
      <p:pic>
        <p:nvPicPr>
          <p:cNvPr id="17" name="Picture 10" descr="http://image.flaticon.com/icons/png/128/65/6553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83772" y="125708"/>
            <a:ext cx="202735" cy="202735"/>
          </a:xfrm>
          <a:prstGeom prst="rect">
            <a:avLst/>
          </a:prstGeom>
          <a:noFill/>
          <a:extLst>
            <a:ext uri="{909E8E84-426E-40DD-AFC4-6F175D3DCCD1}">
              <a14:hiddenFill xmlns:a14="http://schemas.microsoft.com/office/drawing/2010/main">
                <a:solidFill>
                  <a:srgbClr val="FFFFFF"/>
                </a:solidFill>
              </a14:hiddenFill>
            </a:ext>
          </a:extLst>
        </p:spPr>
      </p:pic>
      <p:sp>
        <p:nvSpPr>
          <p:cNvPr id="19" name="Content Placeholder 2"/>
          <p:cNvSpPr txBox="1">
            <a:spLocks/>
          </p:cNvSpPr>
          <p:nvPr/>
        </p:nvSpPr>
        <p:spPr>
          <a:xfrm>
            <a:off x="6096000" y="3429000"/>
            <a:ext cx="2819400" cy="1219200"/>
          </a:xfrm>
          <a:prstGeom prst="rect">
            <a:avLst/>
          </a:prstGeom>
        </p:spPr>
        <p:txBody>
          <a:bodyPr>
            <a:normAutofit fontScale="92500" lnSpcReduction="10000"/>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t>Allow users to </a:t>
            </a:r>
            <a:r>
              <a:rPr lang="en-US" sz="1600" b="1" dirty="0">
                <a:solidFill>
                  <a:schemeClr val="accent1"/>
                </a:solidFill>
              </a:rPr>
              <a:t>explore the different dimensions</a:t>
            </a:r>
            <a:r>
              <a:rPr lang="en-US" sz="1600" dirty="0"/>
              <a:t> of the National Employment Report via an intuitive and flexible visualization</a:t>
            </a:r>
          </a:p>
          <a:p>
            <a:pPr marL="0" indent="0">
              <a:buNone/>
            </a:pPr>
            <a:endParaRPr lang="en-US" sz="1600" dirty="0"/>
          </a:p>
          <a:p>
            <a:pPr marL="0" indent="0">
              <a:buNone/>
            </a:pPr>
            <a:endParaRPr lang="en-US" sz="1400" dirty="0" smtClean="0"/>
          </a:p>
          <a:p>
            <a:pPr marL="457200" lvl="1" indent="0">
              <a:buNone/>
            </a:pPr>
            <a:endParaRPr lang="en-US" sz="1400" dirty="0" smtClean="0"/>
          </a:p>
          <a:p>
            <a:pPr marL="0" indent="0">
              <a:buNone/>
            </a:pPr>
            <a:endParaRPr lang="en-US" sz="1600" dirty="0" smtClean="0"/>
          </a:p>
        </p:txBody>
      </p:sp>
      <p:sp>
        <p:nvSpPr>
          <p:cNvPr id="20" name="Content Placeholder 2"/>
          <p:cNvSpPr txBox="1">
            <a:spLocks/>
          </p:cNvSpPr>
          <p:nvPr/>
        </p:nvSpPr>
        <p:spPr>
          <a:xfrm>
            <a:off x="6096000" y="5105400"/>
            <a:ext cx="2819400" cy="1219200"/>
          </a:xfrm>
          <a:prstGeom prst="rect">
            <a:avLst/>
          </a:prstGeom>
        </p:spPr>
        <p:txBody>
          <a:bodyPr>
            <a:normAutofit fontScale="92500" lnSpcReduction="20000"/>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t>Enable users to understand the </a:t>
            </a:r>
            <a:r>
              <a:rPr lang="en-US" sz="1600" b="1" dirty="0">
                <a:solidFill>
                  <a:schemeClr val="accent1"/>
                </a:solidFill>
              </a:rPr>
              <a:t>predictive power </a:t>
            </a:r>
            <a:r>
              <a:rPr lang="en-US" sz="1600" dirty="0"/>
              <a:t>of the National Employment Report by comparing it against historical Bureau of Labor Statistics data </a:t>
            </a:r>
          </a:p>
          <a:p>
            <a:pPr marL="0" indent="0">
              <a:buNone/>
            </a:pPr>
            <a:endParaRPr lang="en-US" sz="1600" dirty="0"/>
          </a:p>
          <a:p>
            <a:pPr marL="0" indent="0">
              <a:buNone/>
            </a:pPr>
            <a:endParaRPr lang="en-US" sz="1400" dirty="0" smtClean="0"/>
          </a:p>
          <a:p>
            <a:pPr marL="457200" lvl="1" indent="0">
              <a:buNone/>
            </a:pPr>
            <a:endParaRPr lang="en-US" sz="1400" dirty="0" smtClean="0"/>
          </a:p>
          <a:p>
            <a:pPr marL="0" indent="0">
              <a:buNone/>
            </a:pPr>
            <a:endParaRPr lang="en-US" sz="1600" dirty="0" smtClean="0"/>
          </a:p>
        </p:txBody>
      </p:sp>
    </p:spTree>
    <p:extLst>
      <p:ext uri="{BB962C8B-B14F-4D97-AF65-F5344CB8AC3E}">
        <p14:creationId xmlns:p14="http://schemas.microsoft.com/office/powerpoint/2010/main" val="4851509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Business journalists and financial professionals are our target audience</a:t>
            </a:r>
            <a:endParaRPr lang="en-US" b="1" dirty="0"/>
          </a:p>
        </p:txBody>
      </p:sp>
      <p:graphicFrame>
        <p:nvGraphicFramePr>
          <p:cNvPr id="4" name="Table 3"/>
          <p:cNvGraphicFramePr>
            <a:graphicFrameLocks noGrp="1"/>
          </p:cNvGraphicFramePr>
          <p:nvPr>
            <p:extLst>
              <p:ext uri="{D42A27DB-BD31-4B8C-83A1-F6EECF244321}">
                <p14:modId xmlns:p14="http://schemas.microsoft.com/office/powerpoint/2010/main" val="2605655901"/>
              </p:ext>
            </p:extLst>
          </p:nvPr>
        </p:nvGraphicFramePr>
        <p:xfrm>
          <a:off x="381000" y="1219200"/>
          <a:ext cx="8458200" cy="5334000"/>
        </p:xfrm>
        <a:graphic>
          <a:graphicData uri="http://schemas.openxmlformats.org/drawingml/2006/table">
            <a:tbl>
              <a:tblPr firstRow="1" bandRow="1">
                <a:tableStyleId>{5C22544A-7EE6-4342-B048-85BDC9FD1C3A}</a:tableStyleId>
              </a:tblPr>
              <a:tblGrid>
                <a:gridCol w="990600"/>
                <a:gridCol w="1295400"/>
                <a:gridCol w="1611443"/>
                <a:gridCol w="2198557"/>
                <a:gridCol w="2362200"/>
              </a:tblGrid>
              <a:tr h="228600">
                <a:tc>
                  <a:txBody>
                    <a:bodyPr/>
                    <a:lstStyle/>
                    <a:p>
                      <a:pPr algn="ctr"/>
                      <a:r>
                        <a:rPr lang="en-US" sz="1200" dirty="0" smtClean="0">
                          <a:solidFill>
                            <a:schemeClr val="tx1"/>
                          </a:solidFill>
                        </a:rPr>
                        <a:t>Priority</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Segment</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Likelihood </a:t>
                      </a:r>
                    </a:p>
                    <a:p>
                      <a:pPr algn="ctr"/>
                      <a:r>
                        <a:rPr lang="en-US" sz="1200" dirty="0" smtClean="0">
                          <a:solidFill>
                            <a:schemeClr val="tx1"/>
                          </a:solidFill>
                        </a:rPr>
                        <a:t>to visit</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Need from</a:t>
                      </a:r>
                      <a:r>
                        <a:rPr lang="en-US" sz="1200" baseline="0" dirty="0" smtClean="0">
                          <a:solidFill>
                            <a:schemeClr val="tx1"/>
                          </a:solidFill>
                        </a:rPr>
                        <a:t> Data</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Visualization Need</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r>
              <a:tr h="152400">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b="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28600" indent="-228600">
                        <a:buFont typeface="Arial" panose="020B0604020202020204" pitchFamily="34" charset="0"/>
                        <a:buChar char="•"/>
                      </a:pPr>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400" dirty="0" smtClean="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r>
              <a:tr h="1249680">
                <a:tc rowSpan="2">
                  <a:txBody>
                    <a:bodyPr/>
                    <a:lstStyle/>
                    <a:p>
                      <a:r>
                        <a:rPr lang="en-US" sz="1200" b="1" dirty="0" smtClean="0">
                          <a:solidFill>
                            <a:schemeClr val="bg2"/>
                          </a:solidFill>
                        </a:rPr>
                        <a:t>Target Users</a:t>
                      </a:r>
                      <a:endParaRPr lang="en-US" sz="1200" b="1" dirty="0">
                        <a:solidFill>
                          <a:schemeClr val="bg2"/>
                        </a:solidFill>
                      </a:endParaRPr>
                    </a:p>
                  </a:txBody>
                  <a:tcPr anchor="ct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solidFill>
                  </a:tcPr>
                </a:tc>
                <a:tc>
                  <a:txBody>
                    <a:bodyPr/>
                    <a:lstStyle/>
                    <a:p>
                      <a:r>
                        <a:rPr lang="en-US" sz="1200" dirty="0" smtClean="0">
                          <a:solidFill>
                            <a:schemeClr val="tx1"/>
                          </a:solidFill>
                        </a:rPr>
                        <a:t>Business</a:t>
                      </a:r>
                      <a:r>
                        <a:rPr lang="en-US" sz="1200" baseline="0" dirty="0" smtClean="0">
                          <a:solidFill>
                            <a:schemeClr val="tx1"/>
                          </a:solidFill>
                        </a:rPr>
                        <a:t> </a:t>
                      </a:r>
                      <a:r>
                        <a:rPr lang="en-US" sz="1200" dirty="0" smtClean="0">
                          <a:solidFill>
                            <a:schemeClr val="tx1"/>
                          </a:solidFill>
                        </a:rPr>
                        <a:t>Journalists </a:t>
                      </a:r>
                      <a:endParaRPr lang="en-US" sz="120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b="1" dirty="0" smtClean="0">
                          <a:solidFill>
                            <a:schemeClr val="tx1"/>
                          </a:solidFill>
                        </a:rPr>
                        <a:t>High</a:t>
                      </a:r>
                    </a:p>
                    <a:p>
                      <a:r>
                        <a:rPr lang="en-US" sz="1200" b="0" dirty="0" smtClean="0">
                          <a:solidFill>
                            <a:schemeClr val="tx1"/>
                          </a:solidFill>
                        </a:rPr>
                        <a:t>(need</a:t>
                      </a:r>
                      <a:r>
                        <a:rPr lang="en-US" sz="1200" b="0" baseline="0" dirty="0" smtClean="0">
                          <a:solidFill>
                            <a:schemeClr val="tx1"/>
                          </a:solidFill>
                        </a:rPr>
                        <a:t> to deliver timely business insight to a general audience) </a:t>
                      </a:r>
                      <a:endParaRPr lang="en-US" sz="1200" b="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228600" indent="-228600">
                        <a:buFont typeface="Arial" panose="020B0604020202020204" pitchFamily="34" charset="0"/>
                        <a:buChar char="•"/>
                      </a:pPr>
                      <a:r>
                        <a:rPr lang="en-US" sz="1200" baseline="0" dirty="0" smtClean="0">
                          <a:solidFill>
                            <a:schemeClr val="tx1"/>
                          </a:solidFill>
                        </a:rPr>
                        <a:t>Want to report the most recent numbers</a:t>
                      </a:r>
                    </a:p>
                    <a:p>
                      <a:pPr marL="228600" indent="-228600">
                        <a:buFont typeface="Arial" panose="020B0604020202020204" pitchFamily="34" charset="0"/>
                        <a:buChar char="•"/>
                      </a:pPr>
                      <a:r>
                        <a:rPr lang="en-US" sz="1200" baseline="0" dirty="0" smtClean="0">
                          <a:solidFill>
                            <a:schemeClr val="tx1"/>
                          </a:solidFill>
                        </a:rPr>
                        <a:t>Statistics to support a current story</a:t>
                      </a:r>
                    </a:p>
                    <a:p>
                      <a:pPr marL="228600" indent="-228600">
                        <a:buFont typeface="Arial" panose="020B0604020202020204" pitchFamily="34" charset="0"/>
                        <a:buChar char="•"/>
                      </a:pPr>
                      <a:r>
                        <a:rPr lang="en-US" sz="1200" dirty="0" smtClean="0">
                          <a:solidFill>
                            <a:schemeClr val="tx1"/>
                          </a:solidFill>
                        </a:rPr>
                        <a:t>Background to inform</a:t>
                      </a:r>
                      <a:r>
                        <a:rPr lang="en-US" sz="1200" baseline="0" dirty="0" smtClean="0">
                          <a:solidFill>
                            <a:schemeClr val="tx1"/>
                          </a:solidFill>
                        </a:rPr>
                        <a:t> a potential story</a:t>
                      </a:r>
                      <a:endParaRPr lang="en-US" sz="120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rPr>
                        <a:t>Communicative</a:t>
                      </a: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tx1"/>
                          </a:solidFill>
                        </a:rPr>
                        <a:t>Make it simple to</a:t>
                      </a:r>
                      <a:r>
                        <a:rPr lang="en-US" sz="1200" baseline="0" dirty="0" smtClean="0">
                          <a:solidFill>
                            <a:schemeClr val="tx1"/>
                          </a:solidFill>
                        </a:rPr>
                        <a:t> understand trends</a:t>
                      </a: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solidFill>
                            <a:schemeClr val="tx1"/>
                          </a:solidFill>
                        </a:rPr>
                        <a:t>Give me a visual to  support my story</a:t>
                      </a:r>
                      <a:endParaRPr lang="en-US" sz="1200" dirty="0" smtClean="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r>
              <a:tr h="106680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dirty="0" smtClean="0">
                          <a:solidFill>
                            <a:schemeClr val="tx1"/>
                          </a:solidFill>
                        </a:rPr>
                        <a:t>Economists</a:t>
                      </a:r>
                      <a:r>
                        <a:rPr lang="en-US" sz="1200" baseline="0" dirty="0" smtClean="0">
                          <a:solidFill>
                            <a:schemeClr val="tx1"/>
                          </a:solidFill>
                        </a:rPr>
                        <a:t> / Financial professionals</a:t>
                      </a:r>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b="1" dirty="0" smtClean="0">
                          <a:solidFill>
                            <a:schemeClr val="tx1"/>
                          </a:solidFill>
                        </a:rPr>
                        <a:t>Medium </a:t>
                      </a:r>
                      <a:r>
                        <a:rPr lang="en-US" sz="1200" b="1" baseline="0" dirty="0" smtClean="0">
                          <a:solidFill>
                            <a:schemeClr val="tx1"/>
                          </a:solidFill>
                        </a:rPr>
                        <a:t> / </a:t>
                      </a:r>
                      <a:r>
                        <a:rPr lang="en-US" sz="1200" b="1" dirty="0" smtClean="0">
                          <a:solidFill>
                            <a:schemeClr val="tx1"/>
                          </a:solidFill>
                        </a:rPr>
                        <a:t>High </a:t>
                      </a:r>
                    </a:p>
                    <a:p>
                      <a:r>
                        <a:rPr lang="en-US" sz="1200" dirty="0" smtClean="0">
                          <a:solidFill>
                            <a:schemeClr val="tx1"/>
                          </a:solidFill>
                        </a:rPr>
                        <a:t>(likely to get data from Bloomberg </a:t>
                      </a:r>
                      <a:r>
                        <a:rPr lang="en-US" sz="1200" baseline="0" dirty="0" smtClean="0">
                          <a:solidFill>
                            <a:schemeClr val="tx1"/>
                          </a:solidFill>
                        </a:rPr>
                        <a:t>or aggregating data source)</a:t>
                      </a:r>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Most recent data to inform economic model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Investigate predictors to help forecast market movement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smtClean="0">
                        <a:ln>
                          <a:noFill/>
                        </a:ln>
                        <a:solidFill>
                          <a:srgbClr val="000000"/>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rgbClr val="000000"/>
                          </a:solidFill>
                          <a:effectLst/>
                          <a:uLnTx/>
                          <a:uFillTx/>
                          <a:latin typeface="+mn-lt"/>
                          <a:ea typeface="+mn-ea"/>
                          <a:cs typeface="+mn-cs"/>
                        </a:rPr>
                        <a:t>Explorato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Give me the raw data, so I can play with it myself</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Help me see trends to inform my own hypotheses</a:t>
                      </a: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r>
              <a:tr h="762000">
                <a:tc rowSpan="3">
                  <a:txBody>
                    <a:bodyPr/>
                    <a:lstStyle/>
                    <a:p>
                      <a:r>
                        <a:rPr lang="en-US" sz="1200" b="1" dirty="0" smtClean="0">
                          <a:solidFill>
                            <a:schemeClr val="tx1"/>
                          </a:solidFill>
                        </a:rPr>
                        <a:t>Potential future focus</a:t>
                      </a:r>
                      <a:endParaRPr lang="en-US" sz="1200" b="1" dirty="0">
                        <a:solidFill>
                          <a:schemeClr val="tx1"/>
                        </a:solidFill>
                      </a:endParaRPr>
                    </a:p>
                  </a:txBody>
                  <a:tcPr anchor="ctr">
                    <a:lnT w="12700" cap="flat" cmpd="sng" algn="ctr">
                      <a:solidFill>
                        <a:schemeClr val="bg2">
                          <a:lumMod val="85000"/>
                        </a:schemeClr>
                      </a:solidFill>
                      <a:prstDash val="dash"/>
                      <a:round/>
                      <a:headEnd type="none" w="med" len="med"/>
                      <a:tailEnd type="none" w="med" len="med"/>
                    </a:lnT>
                    <a:solidFill>
                      <a:schemeClr val="bg2">
                        <a:lumMod val="95000"/>
                      </a:schemeClr>
                    </a:solidFill>
                  </a:tcPr>
                </a:tc>
                <a:tc>
                  <a:txBody>
                    <a:bodyPr/>
                    <a:lstStyle/>
                    <a:p>
                      <a:r>
                        <a:rPr lang="en-US" sz="1200" dirty="0" smtClean="0">
                          <a:solidFill>
                            <a:schemeClr val="bg1">
                              <a:lumMod val="50000"/>
                            </a:schemeClr>
                          </a:solidFill>
                        </a:rPr>
                        <a:t>Student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Medium</a:t>
                      </a:r>
                    </a:p>
                    <a:p>
                      <a:r>
                        <a:rPr lang="en-US" sz="1200" b="0" dirty="0" smtClean="0">
                          <a:solidFill>
                            <a:schemeClr val="bg1">
                              <a:lumMod val="50000"/>
                            </a:schemeClr>
                          </a:solidFill>
                        </a:rPr>
                        <a:t>(awareness of ADP report may be low)</a:t>
                      </a:r>
                      <a:endParaRPr lang="en-US" sz="1200" b="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Input to a exploratory model or a paper related to labor / economic concerns</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chemeClr val="bg1">
                              <a:lumMod val="50000"/>
                            </a:schemeClr>
                          </a:solidFill>
                          <a:effectLst/>
                          <a:uLnTx/>
                          <a:uFillTx/>
                          <a:latin typeface="+mn-lt"/>
                          <a:ea typeface="+mn-ea"/>
                          <a:cs typeface="+mn-cs"/>
                        </a:rPr>
                        <a:t>Explorato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ake it easy for me to tailor data to my project</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37084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dirty="0" smtClean="0">
                          <a:solidFill>
                            <a:schemeClr val="bg1">
                              <a:lumMod val="50000"/>
                            </a:schemeClr>
                          </a:solidFill>
                        </a:rPr>
                        <a:t>Policy</a:t>
                      </a:r>
                      <a:r>
                        <a:rPr lang="en-US" sz="1200" baseline="0" dirty="0" smtClean="0">
                          <a:solidFill>
                            <a:schemeClr val="bg1">
                              <a:lumMod val="50000"/>
                            </a:schemeClr>
                          </a:solidFill>
                        </a:rPr>
                        <a:t> maker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Medium</a:t>
                      </a:r>
                    </a:p>
                    <a:p>
                      <a:r>
                        <a:rPr lang="en-US" sz="1200" b="0" dirty="0" smtClean="0">
                          <a:solidFill>
                            <a:schemeClr val="bg1">
                              <a:lumMod val="50000"/>
                            </a:schemeClr>
                          </a:solidFill>
                        </a:rPr>
                        <a:t>(tend to favor official</a:t>
                      </a:r>
                      <a:r>
                        <a:rPr lang="en-US" sz="1200" b="0" baseline="0" dirty="0" smtClean="0">
                          <a:solidFill>
                            <a:schemeClr val="bg1">
                              <a:lumMod val="50000"/>
                            </a:schemeClr>
                          </a:solidFill>
                        </a:rPr>
                        <a:t> government data</a:t>
                      </a:r>
                      <a:r>
                        <a:rPr lang="en-US" sz="1200" b="0" dirty="0" smtClean="0">
                          <a:solidFill>
                            <a:schemeClr val="bg1">
                              <a:lumMod val="50000"/>
                            </a:schemeClr>
                          </a:solidFill>
                        </a:rPr>
                        <a:t>)</a:t>
                      </a:r>
                      <a:endParaRPr lang="en-US" sz="1200" b="1"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white">
                              <a:lumMod val="50000"/>
                            </a:prstClr>
                          </a:solidFill>
                          <a:effectLst/>
                          <a:uLnTx/>
                          <a:uFillTx/>
                          <a:latin typeface="+mn-lt"/>
                          <a:ea typeface="+mn-ea"/>
                          <a:cs typeface="+mn-cs"/>
                        </a:rPr>
                        <a:t>Context and supporting data for proposed legislation</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Communicativ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ake it easy for me to see trends relative to my constituents</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37084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dirty="0" smtClean="0">
                          <a:solidFill>
                            <a:schemeClr val="bg1">
                              <a:lumMod val="50000"/>
                            </a:schemeClr>
                          </a:solidFill>
                        </a:rPr>
                        <a:t>Small</a:t>
                      </a:r>
                      <a:r>
                        <a:rPr lang="en-US" sz="1200" baseline="0" dirty="0" smtClean="0">
                          <a:solidFill>
                            <a:schemeClr val="bg1">
                              <a:lumMod val="50000"/>
                            </a:schemeClr>
                          </a:solidFill>
                        </a:rPr>
                        <a:t> businesse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b="1" dirty="0" smtClean="0">
                          <a:solidFill>
                            <a:schemeClr val="bg1">
                              <a:lumMod val="50000"/>
                            </a:schemeClr>
                          </a:solidFill>
                        </a:rPr>
                        <a:t>Low</a:t>
                      </a:r>
                    </a:p>
                    <a:p>
                      <a:r>
                        <a:rPr lang="en-US" sz="1200" b="0" dirty="0" smtClean="0">
                          <a:solidFill>
                            <a:schemeClr val="bg1">
                              <a:lumMod val="50000"/>
                            </a:schemeClr>
                          </a:solidFill>
                        </a:rPr>
                        <a:t>(busy running their businesses)</a:t>
                      </a:r>
                      <a:endParaRPr lang="en-US" sz="1200" b="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Put their own experience in context of the broader economy</a:t>
                      </a:r>
                    </a:p>
                  </a:txBody>
                  <a:tcPr>
                    <a:lnT w="12700" cap="flat" cmpd="sng" algn="ctr">
                      <a:solidFill>
                        <a:schemeClr val="bg2">
                          <a:lumMod val="85000"/>
                        </a:schemeClr>
                      </a:solidFill>
                      <a:prstDash val="dash"/>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chemeClr val="bg1">
                              <a:lumMod val="50000"/>
                            </a:schemeClr>
                          </a:solidFill>
                          <a:effectLst/>
                          <a:uLnTx/>
                          <a:uFillTx/>
                          <a:latin typeface="+mn-lt"/>
                          <a:ea typeface="+mn-ea"/>
                          <a:cs typeface="+mn-cs"/>
                        </a:rPr>
                        <a:t>Communicativ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Help me understand how I relate to businesses like me</a:t>
                      </a:r>
                    </a:p>
                  </a:txBody>
                  <a:tcPr>
                    <a:lnT w="12700" cap="flat" cmpd="sng" algn="ctr">
                      <a:solidFill>
                        <a:schemeClr val="bg2">
                          <a:lumMod val="85000"/>
                        </a:schemeClr>
                      </a:solidFill>
                      <a:prstDash val="dash"/>
                      <a:round/>
                      <a:headEnd type="none" w="med" len="med"/>
                      <a:tailEnd type="none" w="med" len="med"/>
                    </a:lnT>
                    <a:noFill/>
                  </a:tcPr>
                </a:tc>
              </a:tr>
            </a:tbl>
          </a:graphicData>
        </a:graphic>
      </p:graphicFrame>
      <p:sp>
        <p:nvSpPr>
          <p:cNvPr id="5" name="Rectangle 4"/>
          <p:cNvSpPr/>
          <p:nvPr/>
        </p:nvSpPr>
        <p:spPr>
          <a:xfrm>
            <a:off x="7467600" y="76200"/>
            <a:ext cx="1594104" cy="304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Objective</a:t>
            </a:r>
            <a:endParaRPr lang="en-US" sz="1200" b="1" dirty="0"/>
          </a:p>
        </p:txBody>
      </p:sp>
      <p:pic>
        <p:nvPicPr>
          <p:cNvPr id="6" name="Picture 10" descr="http://image.flaticon.com/icons/png/128/65/6553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83772" y="125708"/>
            <a:ext cx="202735" cy="2027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81050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Where we left off as of the mid-term</a:t>
            </a:r>
            <a:br>
              <a:rPr lang="en-US" b="1" dirty="0" smtClean="0"/>
            </a:br>
            <a:r>
              <a:rPr lang="en-US" sz="2000" dirty="0" smtClean="0"/>
              <a:t>Design mockups</a:t>
            </a:r>
            <a:endParaRPr lang="en-US" dirty="0"/>
          </a:p>
        </p:txBody>
      </p:sp>
      <p:sp>
        <p:nvSpPr>
          <p:cNvPr id="4" name="ColumnHeader"/>
          <p:cNvSpPr>
            <a:spLocks noChangeArrowheads="1"/>
          </p:cNvSpPr>
          <p:nvPr/>
        </p:nvSpPr>
        <p:spPr bwMode="gray">
          <a:xfrm>
            <a:off x="590550" y="1282243"/>
            <a:ext cx="36957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Jobs Explorer</a:t>
            </a:r>
            <a:endParaRPr lang="en-US" sz="1400" b="1" dirty="0">
              <a:solidFill>
                <a:srgbClr val="000000"/>
              </a:solidFill>
            </a:endParaRPr>
          </a:p>
        </p:txBody>
      </p:sp>
      <p:cxnSp>
        <p:nvCxnSpPr>
          <p:cNvPr id="5" name="Straight Connector 4"/>
          <p:cNvCxnSpPr/>
          <p:nvPr/>
        </p:nvCxnSpPr>
        <p:spPr>
          <a:xfrm>
            <a:off x="304800" y="1711394"/>
            <a:ext cx="42672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724400" y="1711394"/>
            <a:ext cx="42672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ColumnHeader"/>
          <p:cNvSpPr>
            <a:spLocks noChangeArrowheads="1"/>
          </p:cNvSpPr>
          <p:nvPr/>
        </p:nvSpPr>
        <p:spPr bwMode="gray">
          <a:xfrm>
            <a:off x="5010150" y="1282243"/>
            <a:ext cx="36957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BLS Comparison</a:t>
            </a:r>
            <a:endParaRPr lang="en-US" sz="1400" b="1" dirty="0">
              <a:solidFill>
                <a:srgbClr val="000000"/>
              </a:solidFill>
            </a:endParaRPr>
          </a:p>
        </p:txBody>
      </p:sp>
      <p:sp>
        <p:nvSpPr>
          <p:cNvPr id="10" name="Rectangle 9"/>
          <p:cNvSpPr/>
          <p:nvPr/>
        </p:nvSpPr>
        <p:spPr>
          <a:xfrm>
            <a:off x="7467600" y="76200"/>
            <a:ext cx="1594104" cy="304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Objective</a:t>
            </a:r>
            <a:endParaRPr lang="en-US" sz="1200" b="1" dirty="0"/>
          </a:p>
        </p:txBody>
      </p:sp>
      <p:pic>
        <p:nvPicPr>
          <p:cNvPr id="11" name="Picture 10" descr="http://image.flaticon.com/icons/png/128/65/6553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83772" y="125708"/>
            <a:ext cx="202735" cy="2027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0" y="2362200"/>
            <a:ext cx="4168140" cy="2800350"/>
          </a:xfrm>
          <a:prstGeom prst="rect">
            <a:avLst/>
          </a:prstGeom>
        </p:spPr>
      </p:pic>
      <p:pic>
        <p:nvPicPr>
          <p:cNvPr id="3686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41570" y="2362200"/>
            <a:ext cx="3886742" cy="291505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470834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A few technology choices were fundamental </a:t>
            </a:r>
            <a:br>
              <a:rPr lang="en-US" b="1" dirty="0" smtClean="0"/>
            </a:br>
            <a:r>
              <a:rPr lang="en-US" b="1" dirty="0" smtClean="0"/>
              <a:t>to building our final visualization</a:t>
            </a:r>
            <a:endParaRPr lang="en-US" b="1" dirty="0"/>
          </a:p>
        </p:txBody>
      </p:sp>
      <p:sp>
        <p:nvSpPr>
          <p:cNvPr id="4" name="Rectangle 3"/>
          <p:cNvSpPr/>
          <p:nvPr/>
        </p:nvSpPr>
        <p:spPr>
          <a:xfrm>
            <a:off x="7467600" y="76200"/>
            <a:ext cx="1594104" cy="304800"/>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Technology</a:t>
            </a:r>
            <a:endParaRPr lang="en-US" sz="1200" b="1" dirty="0"/>
          </a:p>
        </p:txBody>
      </p:sp>
      <p:pic>
        <p:nvPicPr>
          <p:cNvPr id="6" name="Picture 27" descr="C:\Users\venjaraa\Desktop\bw-stack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473" y="125730"/>
            <a:ext cx="228600" cy="2286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Table 7"/>
          <p:cNvGraphicFramePr>
            <a:graphicFrameLocks noGrp="1"/>
          </p:cNvGraphicFramePr>
          <p:nvPr>
            <p:extLst>
              <p:ext uri="{D42A27DB-BD31-4B8C-83A1-F6EECF244321}">
                <p14:modId xmlns:p14="http://schemas.microsoft.com/office/powerpoint/2010/main" val="1746620019"/>
              </p:ext>
            </p:extLst>
          </p:nvPr>
        </p:nvGraphicFramePr>
        <p:xfrm>
          <a:off x="380997" y="1544316"/>
          <a:ext cx="8610603" cy="4399284"/>
        </p:xfrm>
        <a:graphic>
          <a:graphicData uri="http://schemas.openxmlformats.org/drawingml/2006/table">
            <a:tbl>
              <a:tblPr firstRow="1" bandRow="1">
                <a:tableStyleId>{5C22544A-7EE6-4342-B048-85BDC9FD1C3A}</a:tableStyleId>
              </a:tblPr>
              <a:tblGrid>
                <a:gridCol w="1447803">
                  <a:extLst>
                    <a:ext uri="{9D8B030D-6E8A-4147-A177-3AD203B41FA5}">
                      <a16:colId xmlns:a16="http://schemas.microsoft.com/office/drawing/2014/main" xmlns="" val="20000"/>
                    </a:ext>
                  </a:extLst>
                </a:gridCol>
                <a:gridCol w="76200"/>
                <a:gridCol w="1600200">
                  <a:extLst>
                    <a:ext uri="{9D8B030D-6E8A-4147-A177-3AD203B41FA5}">
                      <a16:colId xmlns:a16="http://schemas.microsoft.com/office/drawing/2014/main" xmlns="" val="20001"/>
                    </a:ext>
                  </a:extLst>
                </a:gridCol>
                <a:gridCol w="228600"/>
                <a:gridCol w="5257800"/>
              </a:tblGrid>
              <a:tr h="293861">
                <a:tc>
                  <a:txBody>
                    <a:bodyPr/>
                    <a:lstStyle/>
                    <a:p>
                      <a:r>
                        <a:rPr lang="en-US" sz="1400" b="1" dirty="0" smtClean="0">
                          <a:solidFill>
                            <a:schemeClr val="tx1"/>
                          </a:solidFill>
                        </a:rPr>
                        <a:t>Function</a:t>
                      </a:r>
                      <a:endParaRPr lang="en-US" sz="1400" b="1" dirty="0">
                        <a:solidFill>
                          <a:schemeClr val="tx1"/>
                        </a:solidFill>
                      </a:endParaRPr>
                    </a:p>
                  </a:txBody>
                  <a:tcPr anchor="b">
                    <a:lnB w="12700" cap="flat" cmpd="sng" algn="ctr">
                      <a:solidFill>
                        <a:schemeClr val="accent1"/>
                      </a:solidFill>
                      <a:prstDash val="solid"/>
                      <a:round/>
                      <a:headEnd type="none" w="med" len="med"/>
                      <a:tailEnd type="none" w="med" len="med"/>
                    </a:lnB>
                    <a:noFill/>
                  </a:tcPr>
                </a:tc>
                <a:tc>
                  <a:txBody>
                    <a:bodyPr/>
                    <a:lstStyle/>
                    <a:p>
                      <a:endParaRPr lang="en-US" sz="1400" b="1" dirty="0">
                        <a:solidFill>
                          <a:schemeClr val="tx1"/>
                        </a:solidFill>
                      </a:endParaRPr>
                    </a:p>
                  </a:txBody>
                  <a:tcPr marL="18288" marR="18288" anchor="b">
                    <a:lnB w="28575" cap="flat" cmpd="sng" algn="ctr">
                      <a:solidFill>
                        <a:schemeClr val="bg2"/>
                      </a:solidFill>
                      <a:prstDash val="solid"/>
                      <a:round/>
                      <a:headEnd type="none" w="med" len="med"/>
                      <a:tailEnd type="none" w="med" len="med"/>
                    </a:lnB>
                    <a:noFill/>
                  </a:tcPr>
                </a:tc>
                <a:tc>
                  <a:txBody>
                    <a:bodyPr/>
                    <a:lstStyle/>
                    <a:p>
                      <a:r>
                        <a:rPr lang="en-US" sz="1400" b="1" dirty="0" smtClean="0">
                          <a:solidFill>
                            <a:schemeClr val="tx1"/>
                          </a:solidFill>
                        </a:rPr>
                        <a:t>Technology</a:t>
                      </a:r>
                      <a:endParaRPr lang="en-US" sz="1400" b="1" dirty="0">
                        <a:solidFill>
                          <a:schemeClr val="tx1"/>
                        </a:solidFill>
                      </a:endParaRPr>
                    </a:p>
                  </a:txBody>
                  <a:tcPr anchor="b">
                    <a:lnR w="12700" cmpd="sng">
                      <a:noFill/>
                    </a:lnR>
                    <a:lnB w="12700" cap="flat" cmpd="sng" algn="ctr">
                      <a:solidFill>
                        <a:schemeClr val="accent1"/>
                      </a:solidFill>
                      <a:prstDash val="solid"/>
                      <a:round/>
                      <a:headEnd type="none" w="med" len="med"/>
                      <a:tailEnd type="none" w="med" len="med"/>
                    </a:lnB>
                    <a:noFill/>
                  </a:tcPr>
                </a:tc>
                <a:tc>
                  <a:txBody>
                    <a:bodyPr/>
                    <a:lstStyle/>
                    <a:p>
                      <a:endParaRPr lang="en-US" sz="1400" b="1" dirty="0">
                        <a:solidFill>
                          <a:schemeClr val="tx1"/>
                        </a:solidFill>
                      </a:endParaRP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smtClean="0">
                          <a:solidFill>
                            <a:schemeClr val="tx1"/>
                          </a:solidFill>
                        </a:rPr>
                        <a:t>Rationale</a:t>
                      </a:r>
                      <a:endParaRPr lang="en-US" sz="1400" b="1" dirty="0">
                        <a:solidFill>
                          <a:schemeClr val="tx1"/>
                        </a:solidFill>
                      </a:endParaRPr>
                    </a:p>
                  </a:txBody>
                  <a:tcPr anchor="b">
                    <a:lnL w="12700" cmpd="sng">
                      <a:noFill/>
                    </a:lnL>
                    <a:lnR w="12700" cmpd="sng">
                      <a:noFill/>
                    </a:ln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xmlns="" val="10000"/>
                  </a:ext>
                </a:extLst>
              </a:tr>
              <a:tr h="137313">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400" b="1"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400" dirty="0" smtClean="0"/>
                    </a:p>
                  </a:txBody>
                  <a:tcPr marL="18288" marR="18288">
                    <a:lnT w="285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xmlns="" val="10002"/>
                  </a:ext>
                </a:extLst>
              </a:tr>
              <a:tr h="98597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Visualization</a:t>
                      </a:r>
                    </a:p>
                  </a:txBody>
                  <a:tcPr anchor="ctr">
                    <a:lnT w="28575"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baseline="0" dirty="0" err="1" smtClean="0"/>
                        <a:t>Highcharts</a:t>
                      </a:r>
                      <a:r>
                        <a:rPr lang="en-US" sz="1400" b="0" baseline="0" dirty="0" smtClean="0"/>
                        <a:t> / </a:t>
                      </a:r>
                      <a:r>
                        <a:rPr lang="en-US" sz="1400" b="0" baseline="0" dirty="0" err="1" smtClean="0"/>
                        <a:t>Highstock</a:t>
                      </a:r>
                      <a:endParaRPr lang="en-US" sz="1400" b="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1368568">
                <a:tc>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600" b="1" dirty="0" smtClean="0">
                          <a:solidFill>
                            <a:schemeClr val="bg2"/>
                          </a:solidFill>
                        </a:rPr>
                        <a:t>Data Manipulation</a:t>
                      </a: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solidFill>
                  </a:tcPr>
                </a:tc>
                <a:tc>
                  <a:txBody>
                    <a:bodyPr/>
                    <a:lstStyle/>
                    <a:p>
                      <a:pPr marL="171450" indent="-171450">
                        <a:buFont typeface="Arial"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0" indent="0" algn="l">
                        <a:buFont typeface="Arial" panose="020B0604020202020204" pitchFamily="34" charset="0"/>
                        <a:buNone/>
                      </a:pPr>
                      <a:r>
                        <a:rPr lang="en-US" sz="1400" b="0" baseline="0" dirty="0" smtClean="0"/>
                        <a:t>Pandas + Flask</a:t>
                      </a: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indent="0">
                        <a:buFont typeface="Arial" panose="020B0604020202020204" pitchFamily="34" charset="0"/>
                        <a:buNone/>
                      </a:pPr>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extLst>
                  <a:ext uri="{0D108BD9-81ED-4DB2-BD59-A6C34878D82A}">
                    <a16:rowId xmlns:a16="http://schemas.microsoft.com/office/drawing/2014/main" xmlns="" val="1026776849"/>
                  </a:ext>
                </a:extLst>
              </a:tr>
              <a:tr h="1587539">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Hosting</a:t>
                      </a:r>
                      <a:endParaRPr lang="en-US" sz="1600" b="0" dirty="0" smtClean="0">
                        <a:solidFill>
                          <a:schemeClr val="bg2"/>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err="1" smtClean="0"/>
                        <a:t>Pythonanywhere</a:t>
                      </a:r>
                      <a:endParaRPr lang="en-US" sz="1400" b="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 name="Rectangle 6"/>
          <p:cNvSpPr/>
          <p:nvPr/>
        </p:nvSpPr>
        <p:spPr>
          <a:xfrm>
            <a:off x="7684773" y="4572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P</a:t>
            </a:r>
            <a:endParaRPr lang="en-US" dirty="0">
              <a:solidFill>
                <a:schemeClr val="tx1"/>
              </a:solidFill>
            </a:endParaRPr>
          </a:p>
        </p:txBody>
      </p:sp>
    </p:spTree>
    <p:extLst>
      <p:ext uri="{BB962C8B-B14F-4D97-AF65-F5344CB8AC3E}">
        <p14:creationId xmlns:p14="http://schemas.microsoft.com/office/powerpoint/2010/main" val="34532216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Who we talked to</a:t>
            </a:r>
            <a:endParaRPr lang="en-US" b="1" dirty="0"/>
          </a:p>
        </p:txBody>
      </p:sp>
      <p:sp>
        <p:nvSpPr>
          <p:cNvPr id="3" name="Text Placeholder 2"/>
          <p:cNvSpPr>
            <a:spLocks noGrp="1"/>
          </p:cNvSpPr>
          <p:nvPr>
            <p:ph type="body" sz="quarter" idx="15"/>
          </p:nvPr>
        </p:nvSpPr>
        <p:spPr/>
        <p:txBody>
          <a:bodyPr/>
          <a:lstStyle/>
          <a:p>
            <a:endParaRPr lang="en-US"/>
          </a:p>
        </p:txBody>
      </p:sp>
      <p:sp>
        <p:nvSpPr>
          <p:cNvPr id="4" name="Rectangle 3"/>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UX Testing</a:t>
            </a:r>
            <a:endParaRPr lang="en-US" sz="1200" b="1" dirty="0"/>
          </a:p>
        </p:txBody>
      </p:sp>
      <p:pic>
        <p:nvPicPr>
          <p:cNvPr id="6"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7620000" y="457200"/>
            <a:ext cx="1447800" cy="5334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V / RR</a:t>
            </a:r>
            <a:endParaRPr lang="en-US" dirty="0">
              <a:solidFill>
                <a:schemeClr val="tx1"/>
              </a:solidFill>
            </a:endParaRPr>
          </a:p>
        </p:txBody>
      </p:sp>
    </p:spTree>
    <p:extLst>
      <p:ext uri="{BB962C8B-B14F-4D97-AF65-F5344CB8AC3E}">
        <p14:creationId xmlns:p14="http://schemas.microsoft.com/office/powerpoint/2010/main" val="27343412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 name="ENGAGE" val="{&quot;SavedSwatch&quot;:&quot;-16748873|-8341960|-3468525|-2064878|-9539986|Markido&quot;,&quot;Id&quot;:&quot;57a79faf3641316fb4359528&quot;,&quot;SmartGridHorizontal&quot;:0,&quot;LinkedExcelSources&quot;:{},&quot;LinkedProjectSources&quot;:{},&quot;FlowConfig&quot;:{&quot;Canvas&quot;:{&quot;Slide&quot;:-1,&quot;Width&quot;:0,&quot;Height&quot;:0},&quot;Timeline&quot;:{&quot;Actions&quo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30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51007 - ADP_PPT+Presentation+4x3">
  <a:themeElements>
    <a:clrScheme name="ADP">
      <a:dk1>
        <a:srgbClr val="6F6F73"/>
      </a:dk1>
      <a:lt1>
        <a:sysClr val="window" lastClr="FFFFFF"/>
      </a:lt1>
      <a:dk2>
        <a:srgbClr val="AAA9AA"/>
      </a:dk2>
      <a:lt2>
        <a:srgbClr val="FFFFFF"/>
      </a:lt2>
      <a:accent1>
        <a:srgbClr val="F9A11A"/>
      </a:accent1>
      <a:accent2>
        <a:srgbClr val="CB4399"/>
      </a:accent2>
      <a:accent3>
        <a:srgbClr val="64BEEB"/>
      </a:accent3>
      <a:accent4>
        <a:srgbClr val="C4DA5A"/>
      </a:accent4>
      <a:accent5>
        <a:srgbClr val="AAA9AA"/>
      </a:accent5>
      <a:accent6>
        <a:srgbClr val="BDBBBB"/>
      </a:accent6>
      <a:hlink>
        <a:srgbClr val="0000FF"/>
      </a:hlink>
      <a:folHlink>
        <a:srgbClr val="C4DA5A"/>
      </a:folHlink>
    </a:clrScheme>
    <a:fontScheme name="ADP">
      <a:majorFont>
        <a:latin typeface="Arial"/>
        <a:ea typeface=""/>
        <a:cs typeface=""/>
      </a:majorFont>
      <a:minorFont>
        <a:latin typeface="Arial"/>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6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31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Blue Color Palette">
  <a:themeElements>
    <a:clrScheme name="Blue Palette -  ADP">
      <a:dk1>
        <a:srgbClr val="6F6F73"/>
      </a:dk1>
      <a:lt1>
        <a:sysClr val="window" lastClr="FFFFFF"/>
      </a:lt1>
      <a:dk2>
        <a:srgbClr val="6F6F73"/>
      </a:dk2>
      <a:lt2>
        <a:srgbClr val="FFFFFF"/>
      </a:lt2>
      <a:accent1>
        <a:srgbClr val="64BEEB"/>
      </a:accent1>
      <a:accent2>
        <a:srgbClr val="0069A6"/>
      </a:accent2>
      <a:accent3>
        <a:srgbClr val="0083C1"/>
      </a:accent3>
      <a:accent4>
        <a:srgbClr val="00A1DF"/>
      </a:accent4>
      <a:accent5>
        <a:srgbClr val="4EC1E0"/>
      </a:accent5>
      <a:accent6>
        <a:srgbClr val="6EC4E9"/>
      </a:accent6>
      <a:hlink>
        <a:srgbClr val="64BEEB"/>
      </a:hlink>
      <a:folHlink>
        <a:srgbClr val="40404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32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33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34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465</TotalTime>
  <Words>1039</Words>
  <Application>Microsoft Office PowerPoint</Application>
  <PresentationFormat>On-screen Show (4:3)</PresentationFormat>
  <Paragraphs>208</Paragraphs>
  <Slides>15</Slides>
  <Notes>0</Notes>
  <HiddenSlides>0</HiddenSlides>
  <MMClips>0</MMClips>
  <ScaleCrop>false</ScaleCrop>
  <HeadingPairs>
    <vt:vector size="6" baseType="variant">
      <vt:variant>
        <vt:lpstr>Theme</vt:lpstr>
      </vt:variant>
      <vt:variant>
        <vt:i4>9</vt:i4>
      </vt:variant>
      <vt:variant>
        <vt:lpstr>Embedded OLE Servers</vt:lpstr>
      </vt:variant>
      <vt:variant>
        <vt:i4>1</vt:i4>
      </vt:variant>
      <vt:variant>
        <vt:lpstr>Slide Titles</vt:lpstr>
      </vt:variant>
      <vt:variant>
        <vt:i4>15</vt:i4>
      </vt:variant>
    </vt:vector>
  </HeadingPairs>
  <TitlesOfParts>
    <vt:vector size="25" baseType="lpstr">
      <vt:lpstr>130_Blank</vt:lpstr>
      <vt:lpstr>151007 - ADP_PPT+Presentation+4x3</vt:lpstr>
      <vt:lpstr>1_Blank</vt:lpstr>
      <vt:lpstr>26_Blank</vt:lpstr>
      <vt:lpstr>131_Blank</vt:lpstr>
      <vt:lpstr>Blue Color Palette</vt:lpstr>
      <vt:lpstr>132_Blank</vt:lpstr>
      <vt:lpstr>133_Blank</vt:lpstr>
      <vt:lpstr>134_Blank</vt:lpstr>
      <vt:lpstr>think-cell Slide</vt:lpstr>
      <vt:lpstr>PowerPoint Presentation</vt:lpstr>
      <vt:lpstr>Outline for the final presentation</vt:lpstr>
      <vt:lpstr>Insight@ADP Visualizing ADP’s National Employment Report</vt:lpstr>
      <vt:lpstr>Roadmap for our presentation</vt:lpstr>
      <vt:lpstr>A quick reminder about our project Current state of the NER and our objective</vt:lpstr>
      <vt:lpstr>Business journalists and financial professionals are our target audience</vt:lpstr>
      <vt:lpstr>Where we left off as of the mid-term Design mockups</vt:lpstr>
      <vt:lpstr>A few technology choices were fundamental  to building our final visualization</vt:lpstr>
      <vt:lpstr>Who we talked to</vt:lpstr>
      <vt:lpstr>Testing uncovered a number of potential  changes to improve the user experience</vt:lpstr>
      <vt:lpstr>We used MoSCoW method to prioritize our changes Parallel development tracks for Jobs Exploer and BLS Comparison</vt:lpstr>
      <vt:lpstr>Based on user testing, we made multiple iterations on our visualizations (I) Jobs Explorer</vt:lpstr>
      <vt:lpstr>Based on user testing, we made multiple iterations on our visualizations (II) BLS Comparison</vt:lpstr>
      <vt:lpstr>Our updated visualization http://spadela.pythonanywhere.com/</vt:lpstr>
      <vt:lpstr>PowerPoint Presentation</vt:lpstr>
    </vt:vector>
  </TitlesOfParts>
  <Company>Automatic Data Processing,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in Venjara</dc:creator>
  <cp:lastModifiedBy>Amin Venjara</cp:lastModifiedBy>
  <cp:revision>171</cp:revision>
  <cp:lastPrinted>2016-03-28T14:00:06Z</cp:lastPrinted>
  <dcterms:created xsi:type="dcterms:W3CDTF">2016-03-23T12:38:49Z</dcterms:created>
  <dcterms:modified xsi:type="dcterms:W3CDTF">2016-08-07T20:53:04Z</dcterms:modified>
</cp:coreProperties>
</file>